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681" r:id="rId2"/>
    <p:sldMasterId id="2147483695" r:id="rId3"/>
    <p:sldMasterId id="2147483710" r:id="rId4"/>
    <p:sldMasterId id="2147483721" r:id="rId5"/>
  </p:sldMasterIdLst>
  <p:notesMasterIdLst>
    <p:notesMasterId r:id="rId7"/>
  </p:notesMasterIdLst>
  <p:handoutMasterIdLst>
    <p:handoutMasterId r:id="rId8"/>
  </p:handoutMasterIdLst>
  <p:sldIdLst>
    <p:sldId id="275" r:id="rId6"/>
  </p:sldIdLst>
  <p:sldSz cx="12192000" cy="6858000"/>
  <p:notesSz cx="6858000" cy="9144000"/>
  <p:custDataLst>
    <p:tags r:id="rId9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6453"/>
    <a:srgbClr val="249555"/>
    <a:srgbClr val="DEE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3296810-A885-4BE3-A3E7-6D5BEEA58F35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 showGuides="1">
      <p:cViewPr varScale="1">
        <p:scale>
          <a:sx n="151" d="100"/>
          <a:sy n="151" d="100"/>
        </p:scale>
        <p:origin x="2868" y="132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0" d="100"/>
          <a:sy n="90" d="100"/>
        </p:scale>
        <p:origin x="359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7DD67975-44DD-444A-B4BF-58A310130C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6E10E5C-ABD2-45BA-A0DE-8903F03D19D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8D8732-8F95-4D1F-9EE3-951ACC109AE4}" type="datetimeFigureOut">
              <a:rPr lang="sv-SE" smtClean="0"/>
              <a:t>2025-10-2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8367956-20D7-4AF9-9C7E-BCA92F23B3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11FAC37-5E21-44FC-AB6B-54C5BD438E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3A6427-B1C5-4E99-A14B-65A6124785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6938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DFBAE3-C234-45D6-9015-CFA1DF050585}" type="datetimeFigureOut">
              <a:rPr lang="sv-SE" smtClean="0"/>
              <a:t>2025-10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343426-C38A-4435-B9B9-A92D4607098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31911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658088F-035B-41E2-AF26-A4714D676B9E}"/>
              </a:ext>
            </a:extLst>
          </p:cNvPr>
          <p:cNvSpPr/>
          <p:nvPr userDrawn="1"/>
        </p:nvSpPr>
        <p:spPr>
          <a:xfrm>
            <a:off x="268497" y="265113"/>
            <a:ext cx="11655007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49" name="Grupp 48">
            <a:extLst>
              <a:ext uri="{FF2B5EF4-FFF2-40B4-BE49-F238E27FC236}">
                <a16:creationId xmlns:a16="http://schemas.microsoft.com/office/drawing/2014/main" id="{A17B1FFD-4C47-445D-89EB-81878920FF40}"/>
              </a:ext>
            </a:extLst>
          </p:cNvPr>
          <p:cNvGrpSpPr/>
          <p:nvPr userDrawn="1"/>
        </p:nvGrpSpPr>
        <p:grpSpPr>
          <a:xfrm>
            <a:off x="5228261" y="5806629"/>
            <a:ext cx="1735478" cy="326438"/>
            <a:chOff x="9835686" y="6074987"/>
            <a:chExt cx="1735478" cy="326438"/>
          </a:xfrm>
        </p:grpSpPr>
        <p:sp>
          <p:nvSpPr>
            <p:cNvPr id="50" name="Frihandsfigur: Form 49">
              <a:extLst>
                <a:ext uri="{FF2B5EF4-FFF2-40B4-BE49-F238E27FC236}">
                  <a16:creationId xmlns:a16="http://schemas.microsoft.com/office/drawing/2014/main" id="{8ABD41B9-904B-4168-9DDC-82CE9BA64151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51" name="Frihandsfigur: Form 50">
              <a:extLst>
                <a:ext uri="{FF2B5EF4-FFF2-40B4-BE49-F238E27FC236}">
                  <a16:creationId xmlns:a16="http://schemas.microsoft.com/office/drawing/2014/main" id="{DC5F6E23-680D-4CDB-82C7-1FE475843758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2" name="Frihandsfigur: Form 51">
              <a:extLst>
                <a:ext uri="{FF2B5EF4-FFF2-40B4-BE49-F238E27FC236}">
                  <a16:creationId xmlns:a16="http://schemas.microsoft.com/office/drawing/2014/main" id="{3CA1DB4F-E26E-4CE1-991C-1912D405C9E8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3" name="Frihandsfigur: Form 52">
              <a:extLst>
                <a:ext uri="{FF2B5EF4-FFF2-40B4-BE49-F238E27FC236}">
                  <a16:creationId xmlns:a16="http://schemas.microsoft.com/office/drawing/2014/main" id="{F5DBD882-CB4B-42EF-8D95-A8A532964B91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4" name="Frihandsfigur: Form 53">
              <a:extLst>
                <a:ext uri="{FF2B5EF4-FFF2-40B4-BE49-F238E27FC236}">
                  <a16:creationId xmlns:a16="http://schemas.microsoft.com/office/drawing/2014/main" id="{23DF994B-D705-4B9D-A06E-F0F281BA7CC3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55" name="Frihandsfigur: Form 54">
              <a:extLst>
                <a:ext uri="{FF2B5EF4-FFF2-40B4-BE49-F238E27FC236}">
                  <a16:creationId xmlns:a16="http://schemas.microsoft.com/office/drawing/2014/main" id="{67B451CC-70FD-4F86-9F1D-2328ADECE8B6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6" name="Frihandsfigur: Form 55">
              <a:extLst>
                <a:ext uri="{FF2B5EF4-FFF2-40B4-BE49-F238E27FC236}">
                  <a16:creationId xmlns:a16="http://schemas.microsoft.com/office/drawing/2014/main" id="{B9E1D679-9156-4C54-AB7B-3E98D3B0871B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7" name="Frihandsfigur: Form 56">
              <a:extLst>
                <a:ext uri="{FF2B5EF4-FFF2-40B4-BE49-F238E27FC236}">
                  <a16:creationId xmlns:a16="http://schemas.microsoft.com/office/drawing/2014/main" id="{0DF0B4B9-54B9-40C8-A3A4-DB17BC0E1CB4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8" name="Frihandsfigur: Form 57">
              <a:extLst>
                <a:ext uri="{FF2B5EF4-FFF2-40B4-BE49-F238E27FC236}">
                  <a16:creationId xmlns:a16="http://schemas.microsoft.com/office/drawing/2014/main" id="{59A0B482-9D05-4042-A6BA-D2F57C29E3C6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9" name="Frihandsfigur: Form 58">
              <a:extLst>
                <a:ext uri="{FF2B5EF4-FFF2-40B4-BE49-F238E27FC236}">
                  <a16:creationId xmlns:a16="http://schemas.microsoft.com/office/drawing/2014/main" id="{CF2BF6E7-7585-41A9-B9A2-24EC83C0A937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pic>
        <p:nvPicPr>
          <p:cNvPr id="26" name="Bildobjekt 25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28490181-B66A-4CF8-9AEE-D31781DF1F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40356">
            <a:off x="-200967" y="-1344068"/>
            <a:ext cx="3930594" cy="5818494"/>
          </a:xfrm>
          <a:custGeom>
            <a:avLst/>
            <a:gdLst>
              <a:gd name="connsiteX0" fmla="*/ 0 w 3930594"/>
              <a:gd name="connsiteY0" fmla="*/ 3131036 h 5818494"/>
              <a:gd name="connsiteX1" fmla="*/ 2885267 w 3930594"/>
              <a:gd name="connsiteY1" fmla="*/ 0 h 5818494"/>
              <a:gd name="connsiteX2" fmla="*/ 3930594 w 3930594"/>
              <a:gd name="connsiteY2" fmla="*/ 0 h 5818494"/>
              <a:gd name="connsiteX3" fmla="*/ 3930594 w 3930594"/>
              <a:gd name="connsiteY3" fmla="*/ 4717888 h 5818494"/>
              <a:gd name="connsiteX4" fmla="*/ 2916379 w 3930594"/>
              <a:gd name="connsiteY4" fmla="*/ 5818494 h 5818494"/>
              <a:gd name="connsiteX5" fmla="*/ 2850268 w 3930594"/>
              <a:gd name="connsiteY5" fmla="*/ 5757573 h 5818494"/>
              <a:gd name="connsiteX6" fmla="*/ 3756985 w 3930594"/>
              <a:gd name="connsiteY6" fmla="*/ 4773621 h 5818494"/>
              <a:gd name="connsiteX7" fmla="*/ 2901386 w 3930594"/>
              <a:gd name="connsiteY7" fmla="*/ 3985182 h 5818494"/>
              <a:gd name="connsiteX8" fmla="*/ 1994669 w 3930594"/>
              <a:gd name="connsiteY8" fmla="*/ 4969134 h 581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0594" h="5818494">
                <a:moveTo>
                  <a:pt x="0" y="3131036"/>
                </a:moveTo>
                <a:lnTo>
                  <a:pt x="2885267" y="0"/>
                </a:lnTo>
                <a:lnTo>
                  <a:pt x="3930594" y="0"/>
                </a:lnTo>
                <a:lnTo>
                  <a:pt x="3930594" y="4717888"/>
                </a:lnTo>
                <a:lnTo>
                  <a:pt x="2916379" y="5818494"/>
                </a:lnTo>
                <a:lnTo>
                  <a:pt x="2850268" y="5757573"/>
                </a:lnTo>
                <a:lnTo>
                  <a:pt x="3756985" y="4773621"/>
                </a:lnTo>
                <a:lnTo>
                  <a:pt x="2901386" y="3985182"/>
                </a:lnTo>
                <a:lnTo>
                  <a:pt x="1994669" y="4969134"/>
                </a:lnTo>
                <a:close/>
              </a:path>
            </a:pathLst>
          </a:custGeom>
        </p:spPr>
      </p:pic>
      <p:pic>
        <p:nvPicPr>
          <p:cNvPr id="30" name="Bildobjekt 29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66D4B74D-4C69-49E3-8ED4-7643DEA0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364484">
            <a:off x="8405243" y="2112531"/>
            <a:ext cx="4012084" cy="6296330"/>
          </a:xfrm>
          <a:custGeom>
            <a:avLst/>
            <a:gdLst>
              <a:gd name="connsiteX0" fmla="*/ 0 w 4266892"/>
              <a:gd name="connsiteY0" fmla="*/ 201691 h 6696211"/>
              <a:gd name="connsiteX1" fmla="*/ 245472 w 4266892"/>
              <a:gd name="connsiteY1" fmla="*/ 0 h 6696211"/>
              <a:gd name="connsiteX2" fmla="*/ 1456806 w 4266892"/>
              <a:gd name="connsiteY2" fmla="*/ 0 h 6696211"/>
              <a:gd name="connsiteX3" fmla="*/ 4266892 w 4266892"/>
              <a:gd name="connsiteY3" fmla="*/ 3420074 h 6696211"/>
              <a:gd name="connsiteX4" fmla="*/ 279602 w 4266892"/>
              <a:gd name="connsiteY4" fmla="*/ 6696211 h 6696211"/>
              <a:gd name="connsiteX5" fmla="*/ 0 w 4266892"/>
              <a:gd name="connsiteY5" fmla="*/ 6355916 h 669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66892" h="6696211">
                <a:moveTo>
                  <a:pt x="0" y="201691"/>
                </a:moveTo>
                <a:lnTo>
                  <a:pt x="245472" y="0"/>
                </a:lnTo>
                <a:lnTo>
                  <a:pt x="1456806" y="0"/>
                </a:lnTo>
                <a:lnTo>
                  <a:pt x="4266892" y="3420074"/>
                </a:lnTo>
                <a:lnTo>
                  <a:pt x="279602" y="6696211"/>
                </a:lnTo>
                <a:lnTo>
                  <a:pt x="0" y="6355916"/>
                </a:lnTo>
                <a:close/>
              </a:path>
            </a:pathLst>
          </a:custGeom>
        </p:spPr>
      </p:pic>
      <p:sp>
        <p:nvSpPr>
          <p:cNvPr id="34" name="Rubrik 33">
            <a:extLst>
              <a:ext uri="{FF2B5EF4-FFF2-40B4-BE49-F238E27FC236}">
                <a16:creationId xmlns:a16="http://schemas.microsoft.com/office/drawing/2014/main" id="{428452C1-5ECD-4011-BAC1-E4F6C0A9B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0" y="1944694"/>
            <a:ext cx="6705602" cy="138791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5" name="Platshållare för text 11">
            <a:extLst>
              <a:ext uri="{FF2B5EF4-FFF2-40B4-BE49-F238E27FC236}">
                <a16:creationId xmlns:a16="http://schemas.microsoft.com/office/drawing/2014/main" id="{8214634E-D352-4BFE-A1EF-28A325A532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1" y="3553213"/>
            <a:ext cx="6705602" cy="1014412"/>
          </a:xfrm>
        </p:spPr>
        <p:txBody>
          <a:bodyPr>
            <a:normAutofit/>
          </a:bodyPr>
          <a:lstStyle>
            <a:lvl1pPr marL="0" indent="0" algn="ctr">
              <a:buNone/>
              <a:defRPr sz="20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8551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67">
          <p15:clr>
            <a:srgbClr val="FBAE40"/>
          </p15:clr>
        </p15:guide>
        <p15:guide id="5" orient="horz" pos="414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33">
            <a:extLst>
              <a:ext uri="{FF2B5EF4-FFF2-40B4-BE49-F238E27FC236}">
                <a16:creationId xmlns:a16="http://schemas.microsoft.com/office/drawing/2014/main" id="{0586E45B-C946-40EB-BCF3-52B22A6A4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1174" y="623888"/>
            <a:ext cx="9129654" cy="4582813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grpSp>
        <p:nvGrpSpPr>
          <p:cNvPr id="8" name="Grupp 7">
            <a:extLst>
              <a:ext uri="{FF2B5EF4-FFF2-40B4-BE49-F238E27FC236}">
                <a16:creationId xmlns:a16="http://schemas.microsoft.com/office/drawing/2014/main" id="{913F60A5-58F0-4BED-A179-299184FC276B}"/>
              </a:ext>
            </a:extLst>
          </p:cNvPr>
          <p:cNvGrpSpPr/>
          <p:nvPr userDrawn="1"/>
        </p:nvGrpSpPr>
        <p:grpSpPr>
          <a:xfrm>
            <a:off x="5228261" y="5806629"/>
            <a:ext cx="1735478" cy="326438"/>
            <a:chOff x="9835686" y="6074987"/>
            <a:chExt cx="1735478" cy="326438"/>
          </a:xfrm>
        </p:grpSpPr>
        <p:sp>
          <p:nvSpPr>
            <p:cNvPr id="11" name="Frihandsfigur: Form 10">
              <a:extLst>
                <a:ext uri="{FF2B5EF4-FFF2-40B4-BE49-F238E27FC236}">
                  <a16:creationId xmlns:a16="http://schemas.microsoft.com/office/drawing/2014/main" id="{1F4E32D5-F119-485F-8558-4E86D5156A95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2" name="Frihandsfigur: Form 11">
              <a:extLst>
                <a:ext uri="{FF2B5EF4-FFF2-40B4-BE49-F238E27FC236}">
                  <a16:creationId xmlns:a16="http://schemas.microsoft.com/office/drawing/2014/main" id="{B2095216-4224-49BE-9557-B56CB3F5230F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E604924A-1947-483B-8AC6-2F170FE907F0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D77FE13D-1262-4A33-8A9F-B469D649FB32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A7A3F3FC-1CD9-4DAD-A8C0-9B8205D94E76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93306529-7910-4036-A697-CF3EA4601670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48774385-640A-40E0-A2F8-187D034A279F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922EB587-67DB-4C3A-8E35-4FD832EB5A71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AD707084-6C12-4D25-BFB9-4A3C2A2D47A7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0" name="Frihandsfigur: Form 19">
              <a:extLst>
                <a:ext uri="{FF2B5EF4-FFF2-40B4-BE49-F238E27FC236}">
                  <a16:creationId xmlns:a16="http://schemas.microsoft.com/office/drawing/2014/main" id="{59FCE280-B436-43D4-85C1-0E9808F88862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3492829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34699" y="1417636"/>
            <a:ext cx="10935499" cy="4351338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4"/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  <p:sp>
        <p:nvSpPr>
          <p:cNvPr id="10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</p:spTree>
    <p:extLst>
      <p:ext uri="{BB962C8B-B14F-4D97-AF65-F5344CB8AC3E}">
        <p14:creationId xmlns:p14="http://schemas.microsoft.com/office/powerpoint/2010/main" val="23177722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med text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34700" y="1417636"/>
            <a:ext cx="10933413" cy="319881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3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CD7A26F7-73FA-4F1B-8558-BB90DBA900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  <p:sp>
        <p:nvSpPr>
          <p:cNvPr id="14" name="Platshållare för text 21">
            <a:extLst>
              <a:ext uri="{FF2B5EF4-FFF2-40B4-BE49-F238E27FC236}">
                <a16:creationId xmlns:a16="http://schemas.microsoft.com/office/drawing/2014/main" id="{E966FEE3-65D1-4C96-A009-3F331D960F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474" y="4696835"/>
            <a:ext cx="10942639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560703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m. skö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34701" y="1417636"/>
            <a:ext cx="6759875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8" name="Platshållare för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7782878" y="1755701"/>
            <a:ext cx="3750311" cy="3670451"/>
          </a:xfrm>
          <a:custGeom>
            <a:avLst/>
            <a:gdLst>
              <a:gd name="connsiteX0" fmla="*/ 1996394 w 3999812"/>
              <a:gd name="connsiteY0" fmla="*/ 0 h 3914640"/>
              <a:gd name="connsiteX1" fmla="*/ 2067694 w 3999812"/>
              <a:gd name="connsiteY1" fmla="*/ 0 h 3914640"/>
              <a:gd name="connsiteX2" fmla="*/ 3998988 w 3999812"/>
              <a:gd name="connsiteY2" fmla="*/ 3894657 h 3914640"/>
              <a:gd name="connsiteX3" fmla="*/ 3989688 w 3999812"/>
              <a:gd name="connsiteY3" fmla="*/ 3913262 h 3914640"/>
              <a:gd name="connsiteX4" fmla="*/ 1996394 w 3999812"/>
              <a:gd name="connsiteY4" fmla="*/ 3913262 h 3914640"/>
              <a:gd name="connsiteX5" fmla="*/ 601398 w 3999812"/>
              <a:gd name="connsiteY5" fmla="*/ 3364413 h 3914640"/>
              <a:gd name="connsiteX6" fmla="*/ 0 w 3999812"/>
              <a:gd name="connsiteY6" fmla="*/ 1956631 h 3914640"/>
              <a:gd name="connsiteX7" fmla="*/ 601398 w 3999812"/>
              <a:gd name="connsiteY7" fmla="*/ 551950 h 3914640"/>
              <a:gd name="connsiteX8" fmla="*/ 1996394 w 3999812"/>
              <a:gd name="connsiteY8" fmla="*/ 0 h 3914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812" h="3914640">
                <a:moveTo>
                  <a:pt x="1996394" y="0"/>
                </a:moveTo>
                <a:cubicBezTo>
                  <a:pt x="1996394" y="0"/>
                  <a:pt x="2021194" y="0"/>
                  <a:pt x="2067694" y="0"/>
                </a:cubicBezTo>
                <a:cubicBezTo>
                  <a:pt x="2067694" y="0"/>
                  <a:pt x="3995888" y="3891556"/>
                  <a:pt x="3998988" y="3894657"/>
                </a:cubicBezTo>
                <a:cubicBezTo>
                  <a:pt x="4002088" y="3903960"/>
                  <a:pt x="3995888" y="3913262"/>
                  <a:pt x="3989688" y="3913262"/>
                </a:cubicBezTo>
                <a:cubicBezTo>
                  <a:pt x="3989688" y="3913262"/>
                  <a:pt x="1999494" y="3916363"/>
                  <a:pt x="1996394" y="3913262"/>
                </a:cubicBezTo>
                <a:cubicBezTo>
                  <a:pt x="1345396" y="3894657"/>
                  <a:pt x="951697" y="3693103"/>
                  <a:pt x="601398" y="3364413"/>
                </a:cubicBezTo>
                <a:cubicBezTo>
                  <a:pt x="229399" y="3014018"/>
                  <a:pt x="0" y="2520984"/>
                  <a:pt x="0" y="1956631"/>
                </a:cubicBezTo>
                <a:cubicBezTo>
                  <a:pt x="0" y="1392278"/>
                  <a:pt x="229399" y="899244"/>
                  <a:pt x="601398" y="551950"/>
                </a:cubicBezTo>
                <a:cubicBezTo>
                  <a:pt x="951697" y="223261"/>
                  <a:pt x="1345396" y="21706"/>
                  <a:pt x="199639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96000" tIns="0" rIns="1332000" bIns="0" anchor="ctr" anchorCtr="0">
            <a:noAutofit/>
          </a:bodyPr>
          <a:lstStyle>
            <a:lvl1pPr marL="0" indent="0" algn="l">
              <a:buFontTx/>
              <a:buNone/>
              <a:defRPr sz="2600" b="1">
                <a:solidFill>
                  <a:schemeClr val="bg1"/>
                </a:solidFill>
              </a:defRPr>
            </a:lvl1pPr>
            <a:lvl2pPr marL="457189" indent="0" algn="l">
              <a:buFontTx/>
              <a:buNone/>
              <a:defRPr sz="2600">
                <a:solidFill>
                  <a:schemeClr val="bg2"/>
                </a:solidFill>
              </a:defRPr>
            </a:lvl2pPr>
            <a:lvl3pPr marL="914377" indent="0" algn="l">
              <a:buFontTx/>
              <a:buNone/>
              <a:defRPr sz="2600">
                <a:solidFill>
                  <a:schemeClr val="bg2"/>
                </a:solidFill>
              </a:defRPr>
            </a:lvl3pPr>
            <a:lvl4pPr marL="1371566" indent="0" algn="l">
              <a:buFontTx/>
              <a:buNone/>
              <a:defRPr sz="2600">
                <a:solidFill>
                  <a:schemeClr val="bg2"/>
                </a:solidFill>
              </a:defRPr>
            </a:lvl4pPr>
            <a:lvl5pPr marL="1828754" indent="0" algn="l">
              <a:buFontTx/>
              <a:buNone/>
              <a:defRPr sz="26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Textruta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56AD836-69C5-46E0-8902-338048AB79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90795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7"/>
          <p:cNvSpPr>
            <a:spLocks noGrp="1"/>
          </p:cNvSpPr>
          <p:nvPr>
            <p:ph type="pic" sz="quarter" idx="15"/>
          </p:nvPr>
        </p:nvSpPr>
        <p:spPr>
          <a:xfrm>
            <a:off x="5386089" y="1412876"/>
            <a:ext cx="6184108" cy="435610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34701" y="1417635"/>
            <a:ext cx="4514545" cy="4357689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3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41D6F8E9-1ADC-4889-A1B3-33C491475D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21289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2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6" y="1412875"/>
            <a:ext cx="5383115" cy="435610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6190037" y="1412875"/>
            <a:ext cx="5383115" cy="435610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8" name="Platshållare för text 4">
            <a:extLst>
              <a:ext uri="{FF2B5EF4-FFF2-40B4-BE49-F238E27FC236}">
                <a16:creationId xmlns:a16="http://schemas.microsoft.com/office/drawing/2014/main" id="{868ECF1D-88C1-47F2-A66A-ED1AC2EB0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5240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4" orient="horz" pos="2205">
          <p15:clr>
            <a:srgbClr val="FBAE40"/>
          </p15:clr>
        </p15:guide>
        <p15:guide id="5" orient="horz" pos="23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+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6" y="1412877"/>
            <a:ext cx="5383115" cy="320357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6190037" y="1412877"/>
            <a:ext cx="5383115" cy="320357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6" y="4696835"/>
            <a:ext cx="5384801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7"/>
          </p:nvPr>
        </p:nvSpPr>
        <p:spPr>
          <a:xfrm>
            <a:off x="6183313" y="4696835"/>
            <a:ext cx="5384801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2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7501D57F-6166-49B1-8C9D-289FB5A165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1527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908">
          <p15:clr>
            <a:srgbClr val="FBAE40"/>
          </p15:clr>
        </p15:guide>
        <p15:guide id="4" orient="horz" pos="295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delar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4" y="1412877"/>
            <a:ext cx="10944723" cy="2087563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625476" y="3675063"/>
            <a:ext cx="10947677" cy="209391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0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1" name="Platshållare för text 4">
            <a:extLst>
              <a:ext uri="{FF2B5EF4-FFF2-40B4-BE49-F238E27FC236}">
                <a16:creationId xmlns:a16="http://schemas.microsoft.com/office/drawing/2014/main" id="{3B049746-1A3D-48BE-8A45-B03BEEBF9F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85205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orient="horz" pos="23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412875"/>
            <a:ext cx="3508375" cy="436245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412875"/>
            <a:ext cx="3508375" cy="436245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412875"/>
            <a:ext cx="3508375" cy="436245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9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908F913D-8C30-4FD6-940C-8C9605094CF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460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29">
          <p15:clr>
            <a:srgbClr val="FBAE40"/>
          </p15:clr>
        </p15:guide>
        <p15:guide id="1" pos="5069">
          <p15:clr>
            <a:srgbClr val="FBAE40"/>
          </p15:clr>
        </p15:guide>
        <p15:guide id="2" pos="2607">
          <p15:clr>
            <a:srgbClr val="FBAE40"/>
          </p15:clr>
        </p15:guide>
        <p15:guide id="3" pos="493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412877"/>
            <a:ext cx="3508375" cy="324167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412877"/>
            <a:ext cx="3508375" cy="324167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412877"/>
            <a:ext cx="3508375" cy="324167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746625"/>
            <a:ext cx="3508376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4329783" y="4746625"/>
            <a:ext cx="3515308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21"/>
          <p:cNvSpPr>
            <a:spLocks noGrp="1"/>
          </p:cNvSpPr>
          <p:nvPr>
            <p:ph type="body" sz="quarter" idx="21"/>
          </p:nvPr>
        </p:nvSpPr>
        <p:spPr>
          <a:xfrm>
            <a:off x="8054890" y="4746625"/>
            <a:ext cx="3515308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9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7" name="Platshållare för text 4">
            <a:extLst>
              <a:ext uri="{FF2B5EF4-FFF2-40B4-BE49-F238E27FC236}">
                <a16:creationId xmlns:a16="http://schemas.microsoft.com/office/drawing/2014/main" id="{00F97641-C55A-47F0-9404-55A6C673F0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9718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931">
          <p15:clr>
            <a:srgbClr val="FBAE40"/>
          </p15:clr>
        </p15:guide>
        <p15:guide id="7" orient="horz" pos="298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658088F-035B-41E2-AF26-A4714D676B9E}"/>
              </a:ext>
            </a:extLst>
          </p:cNvPr>
          <p:cNvSpPr/>
          <p:nvPr userDrawn="1"/>
        </p:nvSpPr>
        <p:spPr>
          <a:xfrm>
            <a:off x="6096000" y="265113"/>
            <a:ext cx="5827504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20" name="Grupp 19">
            <a:extLst>
              <a:ext uri="{FF2B5EF4-FFF2-40B4-BE49-F238E27FC236}">
                <a16:creationId xmlns:a16="http://schemas.microsoft.com/office/drawing/2014/main" id="{49B92327-B5B5-4B47-88B6-13574CE08B3F}"/>
              </a:ext>
            </a:extLst>
          </p:cNvPr>
          <p:cNvGrpSpPr/>
          <p:nvPr userDrawn="1"/>
        </p:nvGrpSpPr>
        <p:grpSpPr>
          <a:xfrm>
            <a:off x="8142013" y="5806629"/>
            <a:ext cx="1735478" cy="326438"/>
            <a:chOff x="9835686" y="6074987"/>
            <a:chExt cx="1735478" cy="326438"/>
          </a:xfrm>
        </p:grpSpPr>
        <p:sp>
          <p:nvSpPr>
            <p:cNvPr id="21" name="Frihandsfigur: Form 20">
              <a:extLst>
                <a:ext uri="{FF2B5EF4-FFF2-40B4-BE49-F238E27FC236}">
                  <a16:creationId xmlns:a16="http://schemas.microsoft.com/office/drawing/2014/main" id="{8B78DF5B-A134-4273-8EC4-C11C314B14F6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2" name="Frihandsfigur: Form 21">
              <a:extLst>
                <a:ext uri="{FF2B5EF4-FFF2-40B4-BE49-F238E27FC236}">
                  <a16:creationId xmlns:a16="http://schemas.microsoft.com/office/drawing/2014/main" id="{AF9326DA-3BC0-46C4-AAFD-5E90E872BF0C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3" name="Frihandsfigur: Form 22">
              <a:extLst>
                <a:ext uri="{FF2B5EF4-FFF2-40B4-BE49-F238E27FC236}">
                  <a16:creationId xmlns:a16="http://schemas.microsoft.com/office/drawing/2014/main" id="{14B7F08F-1DB8-44B5-AAD3-FD69FCD5722E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4" name="Frihandsfigur: Form 23">
              <a:extLst>
                <a:ext uri="{FF2B5EF4-FFF2-40B4-BE49-F238E27FC236}">
                  <a16:creationId xmlns:a16="http://schemas.microsoft.com/office/drawing/2014/main" id="{7708682D-BA12-48BA-8A8F-F296C596852E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5" name="Frihandsfigur: Form 24">
              <a:extLst>
                <a:ext uri="{FF2B5EF4-FFF2-40B4-BE49-F238E27FC236}">
                  <a16:creationId xmlns:a16="http://schemas.microsoft.com/office/drawing/2014/main" id="{0B57B90D-A872-49DE-B40D-D2C7AABD2D81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7" name="Frihandsfigur: Form 26">
              <a:extLst>
                <a:ext uri="{FF2B5EF4-FFF2-40B4-BE49-F238E27FC236}">
                  <a16:creationId xmlns:a16="http://schemas.microsoft.com/office/drawing/2014/main" id="{5DEFFAEC-E15F-4791-B340-7BC57293639C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8" name="Frihandsfigur: Form 27">
              <a:extLst>
                <a:ext uri="{FF2B5EF4-FFF2-40B4-BE49-F238E27FC236}">
                  <a16:creationId xmlns:a16="http://schemas.microsoft.com/office/drawing/2014/main" id="{16FB3D37-E37D-4515-8EA0-D774204068E2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9" name="Frihandsfigur: Form 28">
              <a:extLst>
                <a:ext uri="{FF2B5EF4-FFF2-40B4-BE49-F238E27FC236}">
                  <a16:creationId xmlns:a16="http://schemas.microsoft.com/office/drawing/2014/main" id="{8B8E9AC7-E0DE-4748-BE48-FDFC3D78016C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6" name="Frihandsfigur: Form 35">
              <a:extLst>
                <a:ext uri="{FF2B5EF4-FFF2-40B4-BE49-F238E27FC236}">
                  <a16:creationId xmlns:a16="http://schemas.microsoft.com/office/drawing/2014/main" id="{DBB643E1-15F5-4A05-8FA9-2568336A713C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7" name="Frihandsfigur: Form 36">
              <a:extLst>
                <a:ext uri="{FF2B5EF4-FFF2-40B4-BE49-F238E27FC236}">
                  <a16:creationId xmlns:a16="http://schemas.microsoft.com/office/drawing/2014/main" id="{EB11DA37-C957-40A9-8A1B-DABC66B1DF4C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337F747B-775E-49F7-B3A1-3AA9248BD89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8496" y="265113"/>
            <a:ext cx="5827504" cy="6321426"/>
          </a:xfrm>
          <a:solidFill>
            <a:schemeClr val="bg1">
              <a:lumMod val="95000"/>
            </a:schemeClr>
          </a:solidFill>
        </p:spPr>
        <p:txBody>
          <a:bodyPr tIns="36000" bIns="1008000" anchor="ctr">
            <a:norm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4" name="Rubrik 33">
            <a:extLst>
              <a:ext uri="{FF2B5EF4-FFF2-40B4-BE49-F238E27FC236}">
                <a16:creationId xmlns:a16="http://schemas.microsoft.com/office/drawing/2014/main" id="{428452C1-5ECD-4011-BAC1-E4F6C0A9B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1390" y="2291453"/>
            <a:ext cx="5116722" cy="1387915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5" name="Platshållare för text 11">
            <a:extLst>
              <a:ext uri="{FF2B5EF4-FFF2-40B4-BE49-F238E27FC236}">
                <a16:creationId xmlns:a16="http://schemas.microsoft.com/office/drawing/2014/main" id="{8214634E-D352-4BFE-A1EF-28A325A532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51391" y="3899972"/>
            <a:ext cx="5116721" cy="1014412"/>
          </a:xfrm>
        </p:spPr>
        <p:txBody>
          <a:bodyPr>
            <a:normAutofit/>
          </a:bodyPr>
          <a:lstStyle>
            <a:lvl1pPr marL="0" indent="0" algn="ctr">
              <a:buNone/>
              <a:defRPr sz="18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Bildobjekt 18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8AA5B1DC-051A-4C13-A043-EFF93FAAAC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7086934" flipV="1">
            <a:off x="9471011" y="-596868"/>
            <a:ext cx="2785246" cy="3752628"/>
          </a:xfrm>
          <a:custGeom>
            <a:avLst/>
            <a:gdLst>
              <a:gd name="connsiteX0" fmla="*/ 1955847 w 4371941"/>
              <a:gd name="connsiteY0" fmla="*/ 0 h 5890423"/>
              <a:gd name="connsiteX1" fmla="*/ 0 w 4371941"/>
              <a:gd name="connsiteY1" fmla="*/ 3660581 h 5890423"/>
              <a:gd name="connsiteX2" fmla="*/ 4173393 w 4371941"/>
              <a:gd name="connsiteY2" fmla="*/ 5890423 h 5890423"/>
              <a:gd name="connsiteX3" fmla="*/ 4371941 w 4371941"/>
              <a:gd name="connsiteY3" fmla="*/ 5518819 h 5890423"/>
              <a:gd name="connsiteX4" fmla="*/ 4371941 w 4371941"/>
              <a:gd name="connsiteY4" fmla="*/ 406300 h 5890423"/>
              <a:gd name="connsiteX5" fmla="*/ 3611506 w 4371941"/>
              <a:gd name="connsiteY5" fmla="*/ 0 h 5890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71941" h="5890423">
                <a:moveTo>
                  <a:pt x="1955847" y="0"/>
                </a:moveTo>
                <a:lnTo>
                  <a:pt x="0" y="3660581"/>
                </a:lnTo>
                <a:lnTo>
                  <a:pt x="4173393" y="5890423"/>
                </a:lnTo>
                <a:lnTo>
                  <a:pt x="4371941" y="5518819"/>
                </a:lnTo>
                <a:lnTo>
                  <a:pt x="4371941" y="406300"/>
                </a:lnTo>
                <a:lnTo>
                  <a:pt x="3611506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05439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67">
          <p15:clr>
            <a:srgbClr val="FBAE40"/>
          </p15:clr>
        </p15:guide>
        <p15:guide id="5" orient="horz" pos="4149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delar, 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6" y="1412875"/>
            <a:ext cx="5383115" cy="435610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412877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/>
          </p:nvPr>
        </p:nvSpPr>
        <p:spPr>
          <a:xfrm>
            <a:off x="6189566" y="3678238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4A60146F-ED2D-421A-9D17-CEC5BF0FA7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9990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205">
          <p15:clr>
            <a:srgbClr val="FBAE40"/>
          </p15:clr>
        </p15:guide>
        <p15:guide id="4" orient="horz" pos="23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delar, 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412877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/>
          </p:nvPr>
        </p:nvSpPr>
        <p:spPr>
          <a:xfrm>
            <a:off x="6189566" y="3678238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412877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/>
          </p:nvPr>
        </p:nvSpPr>
        <p:spPr>
          <a:xfrm>
            <a:off x="625475" y="3678238"/>
            <a:ext cx="5378548" cy="209073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1" name="Platshållare för text 4">
            <a:extLst>
              <a:ext uri="{FF2B5EF4-FFF2-40B4-BE49-F238E27FC236}">
                <a16:creationId xmlns:a16="http://schemas.microsoft.com/office/drawing/2014/main" id="{64BE5081-A136-4060-A061-A4BDA8A6C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13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205">
          <p15:clr>
            <a:srgbClr val="FBAE40"/>
          </p15:clr>
        </p15:guide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31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8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5F071C4B-6932-451E-98B5-78C6D0640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444802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7" name="Platshållare för text 4">
            <a:extLst>
              <a:ext uri="{FF2B5EF4-FFF2-40B4-BE49-F238E27FC236}">
                <a16:creationId xmlns:a16="http://schemas.microsoft.com/office/drawing/2014/main" id="{D103AE15-0120-4550-9C66-FA194EC78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05722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5477" y="1773240"/>
            <a:ext cx="10941049" cy="40020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6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9F9E8AC2-7E03-4FF4-89AD-23D4579C8E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473856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+ text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4" y="4696835"/>
            <a:ext cx="7889287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625477" y="1773239"/>
            <a:ext cx="10941049" cy="28432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E450BEEE-E5C0-4ABB-8159-CDF002D84F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8442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m. skö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7782878" y="1783981"/>
            <a:ext cx="3750311" cy="3670451"/>
          </a:xfrm>
          <a:custGeom>
            <a:avLst/>
            <a:gdLst>
              <a:gd name="connsiteX0" fmla="*/ 1996394 w 3999812"/>
              <a:gd name="connsiteY0" fmla="*/ 0 h 3914640"/>
              <a:gd name="connsiteX1" fmla="*/ 2067694 w 3999812"/>
              <a:gd name="connsiteY1" fmla="*/ 0 h 3914640"/>
              <a:gd name="connsiteX2" fmla="*/ 3998988 w 3999812"/>
              <a:gd name="connsiteY2" fmla="*/ 3894657 h 3914640"/>
              <a:gd name="connsiteX3" fmla="*/ 3989688 w 3999812"/>
              <a:gd name="connsiteY3" fmla="*/ 3913262 h 3914640"/>
              <a:gd name="connsiteX4" fmla="*/ 1996394 w 3999812"/>
              <a:gd name="connsiteY4" fmla="*/ 3913262 h 3914640"/>
              <a:gd name="connsiteX5" fmla="*/ 601398 w 3999812"/>
              <a:gd name="connsiteY5" fmla="*/ 3364413 h 3914640"/>
              <a:gd name="connsiteX6" fmla="*/ 0 w 3999812"/>
              <a:gd name="connsiteY6" fmla="*/ 1956631 h 3914640"/>
              <a:gd name="connsiteX7" fmla="*/ 601398 w 3999812"/>
              <a:gd name="connsiteY7" fmla="*/ 551950 h 3914640"/>
              <a:gd name="connsiteX8" fmla="*/ 1996394 w 3999812"/>
              <a:gd name="connsiteY8" fmla="*/ 0 h 3914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812" h="3914640">
                <a:moveTo>
                  <a:pt x="1996394" y="0"/>
                </a:moveTo>
                <a:cubicBezTo>
                  <a:pt x="1996394" y="0"/>
                  <a:pt x="2021194" y="0"/>
                  <a:pt x="2067694" y="0"/>
                </a:cubicBezTo>
                <a:cubicBezTo>
                  <a:pt x="2067694" y="0"/>
                  <a:pt x="3995888" y="3891556"/>
                  <a:pt x="3998988" y="3894657"/>
                </a:cubicBezTo>
                <a:cubicBezTo>
                  <a:pt x="4002088" y="3903960"/>
                  <a:pt x="3995888" y="3913262"/>
                  <a:pt x="3989688" y="3913262"/>
                </a:cubicBezTo>
                <a:cubicBezTo>
                  <a:pt x="3989688" y="3913262"/>
                  <a:pt x="1999494" y="3916363"/>
                  <a:pt x="1996394" y="3913262"/>
                </a:cubicBezTo>
                <a:cubicBezTo>
                  <a:pt x="1345396" y="3894657"/>
                  <a:pt x="951697" y="3693103"/>
                  <a:pt x="601398" y="3364413"/>
                </a:cubicBezTo>
                <a:cubicBezTo>
                  <a:pt x="229399" y="3014018"/>
                  <a:pt x="0" y="2520984"/>
                  <a:pt x="0" y="1956631"/>
                </a:cubicBezTo>
                <a:cubicBezTo>
                  <a:pt x="0" y="1392278"/>
                  <a:pt x="229399" y="899244"/>
                  <a:pt x="601398" y="551950"/>
                </a:cubicBezTo>
                <a:cubicBezTo>
                  <a:pt x="951697" y="223261"/>
                  <a:pt x="1345396" y="21706"/>
                  <a:pt x="199639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396000" tIns="0" rIns="1332000" bIns="0" anchor="ctr" anchorCtr="0">
            <a:noAutofit/>
          </a:bodyPr>
          <a:lstStyle>
            <a:lvl1pPr marL="0" indent="0" algn="l">
              <a:buFontTx/>
              <a:buNone/>
              <a:defRPr sz="2600" b="1" baseline="0">
                <a:solidFill>
                  <a:schemeClr val="tx2"/>
                </a:solidFill>
              </a:defRPr>
            </a:lvl1pPr>
            <a:lvl2pPr marL="457189" indent="0" algn="l">
              <a:buFontTx/>
              <a:buNone/>
              <a:defRPr sz="2600">
                <a:solidFill>
                  <a:schemeClr val="bg2"/>
                </a:solidFill>
              </a:defRPr>
            </a:lvl2pPr>
            <a:lvl3pPr marL="914377" indent="0" algn="l">
              <a:buFontTx/>
              <a:buNone/>
              <a:defRPr sz="2600">
                <a:solidFill>
                  <a:schemeClr val="bg2"/>
                </a:solidFill>
              </a:defRPr>
            </a:lvl3pPr>
            <a:lvl4pPr marL="1371566" indent="0" algn="l">
              <a:buFontTx/>
              <a:buNone/>
              <a:defRPr sz="2600">
                <a:solidFill>
                  <a:schemeClr val="bg2"/>
                </a:solidFill>
              </a:defRPr>
            </a:lvl4pPr>
            <a:lvl5pPr marL="1828754" indent="0" algn="l">
              <a:buFontTx/>
              <a:buNone/>
              <a:defRPr sz="26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6801403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3" name="Platshållare för innehåll 2"/>
          <p:cNvSpPr>
            <a:spLocks noGrp="1"/>
          </p:cNvSpPr>
          <p:nvPr>
            <p:ph idx="1"/>
          </p:nvPr>
        </p:nvSpPr>
        <p:spPr>
          <a:xfrm>
            <a:off x="625476" y="1773240"/>
            <a:ext cx="6786563" cy="40020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EB1869EF-27E0-4F29-A420-9CDD1D0302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565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6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10959561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bild 7"/>
          <p:cNvSpPr>
            <a:spLocks noGrp="1"/>
          </p:cNvSpPr>
          <p:nvPr>
            <p:ph type="pic" sz="quarter" idx="15"/>
          </p:nvPr>
        </p:nvSpPr>
        <p:spPr>
          <a:xfrm>
            <a:off x="5386089" y="1773240"/>
            <a:ext cx="6184108" cy="399573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634701" y="1778130"/>
            <a:ext cx="4514545" cy="39971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text 4">
            <a:extLst>
              <a:ext uri="{FF2B5EF4-FFF2-40B4-BE49-F238E27FC236}">
                <a16:creationId xmlns:a16="http://schemas.microsoft.com/office/drawing/2014/main" id="{ADDAA6B5-DC66-408C-BDA7-1BEBE31EAC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7465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0">
          <p15:clr>
            <a:srgbClr val="FBAE40"/>
          </p15:clr>
        </p15:guide>
        <p15:guide id="2" pos="338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två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8EA3439-8001-42F3-AC7F-54F033EAA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A23FA57-B685-4E61-8712-18FDB23501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6D308070-11E2-490C-BB16-72F5C5B40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802" y="1417635"/>
            <a:ext cx="7254282" cy="4357689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bild 7">
            <a:extLst>
              <a:ext uri="{FF2B5EF4-FFF2-40B4-BE49-F238E27FC236}">
                <a16:creationId xmlns:a16="http://schemas.microsoft.com/office/drawing/2014/main" id="{2D9C5171-EB94-4EEE-9AE5-4579C617BD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7060" y="1412877"/>
            <a:ext cx="3513138" cy="2130200"/>
          </a:xfrm>
          <a:prstGeom prst="rect">
            <a:avLst/>
          </a:prstGeom>
          <a:noFill/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7">
            <a:extLst>
              <a:ext uri="{FF2B5EF4-FFF2-40B4-BE49-F238E27FC236}">
                <a16:creationId xmlns:a16="http://schemas.microsoft.com/office/drawing/2014/main" id="{4690438E-2F60-425C-8FD7-9C7F40A4BB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57060" y="3640362"/>
            <a:ext cx="3513138" cy="2134963"/>
          </a:xfrm>
          <a:prstGeom prst="rect">
            <a:avLst/>
          </a:prstGeom>
          <a:noFill/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51528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39"/>
            <a:ext cx="5378548" cy="400208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773239"/>
            <a:ext cx="5378548" cy="400208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C7F21CCE-CD4D-4137-B6FE-2D32F760D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94643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tshållare för bild 34">
            <a:extLst>
              <a:ext uri="{FF2B5EF4-FFF2-40B4-BE49-F238E27FC236}">
                <a16:creationId xmlns:a16="http://schemas.microsoft.com/office/drawing/2014/main" id="{21BAC6BA-899F-43AC-BE62-81CF066E924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70721" y="266701"/>
            <a:ext cx="11650559" cy="6324599"/>
          </a:xfrm>
          <a:custGeom>
            <a:avLst/>
            <a:gdLst>
              <a:gd name="connsiteX0" fmla="*/ 5440591 w 11650559"/>
              <a:gd name="connsiteY0" fmla="*/ 5708644 h 6324599"/>
              <a:gd name="connsiteX1" fmla="*/ 5461375 w 11650559"/>
              <a:gd name="connsiteY1" fmla="*/ 5709340 h 6324599"/>
              <a:gd name="connsiteX2" fmla="*/ 5461375 w 11650559"/>
              <a:gd name="connsiteY2" fmla="*/ 5724928 h 6324599"/>
              <a:gd name="connsiteX3" fmla="*/ 5412190 w 11650559"/>
              <a:gd name="connsiteY3" fmla="*/ 5771385 h 6324599"/>
              <a:gd name="connsiteX4" fmla="*/ 5379288 w 11650559"/>
              <a:gd name="connsiteY4" fmla="*/ 5742610 h 6324599"/>
              <a:gd name="connsiteX5" fmla="*/ 5440591 w 11650559"/>
              <a:gd name="connsiteY5" fmla="*/ 5708644 h 6324599"/>
              <a:gd name="connsiteX6" fmla="*/ 5815068 w 11650559"/>
              <a:gd name="connsiteY6" fmla="*/ 5639654 h 6324599"/>
              <a:gd name="connsiteX7" fmla="*/ 5869418 w 11650559"/>
              <a:gd name="connsiteY7" fmla="*/ 5705153 h 6324599"/>
              <a:gd name="connsiteX8" fmla="*/ 5815068 w 11650559"/>
              <a:gd name="connsiteY8" fmla="*/ 5770716 h 6324599"/>
              <a:gd name="connsiteX9" fmla="*/ 5760333 w 11650559"/>
              <a:gd name="connsiteY9" fmla="*/ 5705153 h 6324599"/>
              <a:gd name="connsiteX10" fmla="*/ 5815068 w 11650559"/>
              <a:gd name="connsiteY10" fmla="*/ 5639654 h 6324599"/>
              <a:gd name="connsiteX11" fmla="*/ 5615166 w 11650559"/>
              <a:gd name="connsiteY11" fmla="*/ 5639028 h 6324599"/>
              <a:gd name="connsiteX12" fmla="*/ 5663664 w 11650559"/>
              <a:gd name="connsiteY12" fmla="*/ 5704492 h 6324599"/>
              <a:gd name="connsiteX13" fmla="*/ 5614823 w 11650559"/>
              <a:gd name="connsiteY13" fmla="*/ 5771385 h 6324599"/>
              <a:gd name="connsiteX14" fmla="*/ 5562867 w 11650559"/>
              <a:gd name="connsiteY14" fmla="*/ 5705530 h 6324599"/>
              <a:gd name="connsiteX15" fmla="*/ 5615166 w 11650559"/>
              <a:gd name="connsiteY15" fmla="*/ 5639028 h 6324599"/>
              <a:gd name="connsiteX16" fmla="*/ 6482815 w 11650559"/>
              <a:gd name="connsiteY16" fmla="*/ 5638937 h 6324599"/>
              <a:gd name="connsiteX17" fmla="*/ 6529464 w 11650559"/>
              <a:gd name="connsiteY17" fmla="*/ 5688672 h 6324599"/>
              <a:gd name="connsiteX18" fmla="*/ 6432480 w 11650559"/>
              <a:gd name="connsiteY18" fmla="*/ 5688672 h 6324599"/>
              <a:gd name="connsiteX19" fmla="*/ 6482815 w 11650559"/>
              <a:gd name="connsiteY19" fmla="*/ 5638937 h 6324599"/>
              <a:gd name="connsiteX20" fmla="*/ 6130348 w 11650559"/>
              <a:gd name="connsiteY20" fmla="*/ 5638937 h 6324599"/>
              <a:gd name="connsiteX21" fmla="*/ 6177002 w 11650559"/>
              <a:gd name="connsiteY21" fmla="*/ 5688672 h 6324599"/>
              <a:gd name="connsiteX22" fmla="*/ 6080017 w 11650559"/>
              <a:gd name="connsiteY22" fmla="*/ 5688672 h 6324599"/>
              <a:gd name="connsiteX23" fmla="*/ 6130348 w 11650559"/>
              <a:gd name="connsiteY23" fmla="*/ 5638937 h 6324599"/>
              <a:gd name="connsiteX24" fmla="*/ 5815068 w 11650559"/>
              <a:gd name="connsiteY24" fmla="*/ 5610866 h 6324599"/>
              <a:gd name="connsiteX25" fmla="*/ 5723198 w 11650559"/>
              <a:gd name="connsiteY25" fmla="*/ 5705153 h 6324599"/>
              <a:gd name="connsiteX26" fmla="*/ 5815068 w 11650559"/>
              <a:gd name="connsiteY26" fmla="*/ 5799504 h 6324599"/>
              <a:gd name="connsiteX27" fmla="*/ 5906549 w 11650559"/>
              <a:gd name="connsiteY27" fmla="*/ 5705153 h 6324599"/>
              <a:gd name="connsiteX28" fmla="*/ 5815068 w 11650559"/>
              <a:gd name="connsiteY28" fmla="*/ 5610866 h 6324599"/>
              <a:gd name="connsiteX29" fmla="*/ 5622090 w 11650559"/>
              <a:gd name="connsiteY29" fmla="*/ 5610763 h 6324599"/>
              <a:gd name="connsiteX30" fmla="*/ 5563425 w 11650559"/>
              <a:gd name="connsiteY30" fmla="*/ 5636913 h 6324599"/>
              <a:gd name="connsiteX31" fmla="*/ 5563425 w 11650559"/>
              <a:gd name="connsiteY31" fmla="*/ 5614911 h 6324599"/>
              <a:gd name="connsiteX32" fmla="*/ 5528361 w 11650559"/>
              <a:gd name="connsiteY32" fmla="*/ 5614911 h 6324599"/>
              <a:gd name="connsiteX33" fmla="*/ 5528361 w 11650559"/>
              <a:gd name="connsiteY33" fmla="*/ 5858500 h 6324599"/>
              <a:gd name="connsiteX34" fmla="*/ 5564810 w 11650559"/>
              <a:gd name="connsiteY34" fmla="*/ 5858500 h 6324599"/>
              <a:gd name="connsiteX35" fmla="*/ 5564810 w 11650559"/>
              <a:gd name="connsiteY35" fmla="*/ 5774414 h 6324599"/>
              <a:gd name="connsiteX36" fmla="*/ 5622446 w 11650559"/>
              <a:gd name="connsiteY36" fmla="*/ 5799654 h 6324599"/>
              <a:gd name="connsiteX37" fmla="*/ 5700243 w 11650559"/>
              <a:gd name="connsiteY37" fmla="*/ 5702073 h 6324599"/>
              <a:gd name="connsiteX38" fmla="*/ 5622090 w 11650559"/>
              <a:gd name="connsiteY38" fmla="*/ 5610763 h 6324599"/>
              <a:gd name="connsiteX39" fmla="*/ 5422931 w 11650559"/>
              <a:gd name="connsiteY39" fmla="*/ 5610763 h 6324599"/>
              <a:gd name="connsiteX40" fmla="*/ 5362726 w 11650559"/>
              <a:gd name="connsiteY40" fmla="*/ 5628270 h 6324599"/>
              <a:gd name="connsiteX41" fmla="*/ 5364768 w 11650559"/>
              <a:gd name="connsiteY41" fmla="*/ 5661016 h 6324599"/>
              <a:gd name="connsiteX42" fmla="*/ 5417736 w 11650559"/>
              <a:gd name="connsiteY42" fmla="*/ 5640975 h 6324599"/>
              <a:gd name="connsiteX43" fmla="*/ 5459324 w 11650559"/>
              <a:gd name="connsiteY43" fmla="*/ 5683057 h 6324599"/>
              <a:gd name="connsiteX44" fmla="*/ 5426740 w 11650559"/>
              <a:gd name="connsiteY44" fmla="*/ 5682465 h 6324599"/>
              <a:gd name="connsiteX45" fmla="*/ 5342706 w 11650559"/>
              <a:gd name="connsiteY45" fmla="*/ 5742610 h 6324599"/>
              <a:gd name="connsiteX46" fmla="*/ 5409423 w 11650559"/>
              <a:gd name="connsiteY46" fmla="*/ 5799654 h 6324599"/>
              <a:gd name="connsiteX47" fmla="*/ 5462893 w 11650559"/>
              <a:gd name="connsiteY47" fmla="*/ 5775507 h 6324599"/>
              <a:gd name="connsiteX48" fmla="*/ 5462893 w 11650559"/>
              <a:gd name="connsiteY48" fmla="*/ 5795514 h 6324599"/>
              <a:gd name="connsiteX49" fmla="*/ 5497544 w 11650559"/>
              <a:gd name="connsiteY49" fmla="*/ 5795514 h 6324599"/>
              <a:gd name="connsiteX50" fmla="*/ 5495872 w 11650559"/>
              <a:gd name="connsiteY50" fmla="*/ 5758919 h 6324599"/>
              <a:gd name="connsiteX51" fmla="*/ 5495872 w 11650559"/>
              <a:gd name="connsiteY51" fmla="*/ 5685798 h 6324599"/>
              <a:gd name="connsiteX52" fmla="*/ 5422931 w 11650559"/>
              <a:gd name="connsiteY52" fmla="*/ 5610763 h 6324599"/>
              <a:gd name="connsiteX53" fmla="*/ 6483690 w 11650559"/>
              <a:gd name="connsiteY53" fmla="*/ 5610591 h 6324599"/>
              <a:gd name="connsiteX54" fmla="*/ 6397086 w 11650559"/>
              <a:gd name="connsiteY54" fmla="*/ 5702810 h 6324599"/>
              <a:gd name="connsiteX55" fmla="*/ 6494075 w 11650559"/>
              <a:gd name="connsiteY55" fmla="*/ 5799756 h 6324599"/>
              <a:gd name="connsiteX56" fmla="*/ 6553234 w 11650559"/>
              <a:gd name="connsiteY56" fmla="*/ 5787493 h 6324599"/>
              <a:gd name="connsiteX57" fmla="*/ 6553234 w 11650559"/>
              <a:gd name="connsiteY57" fmla="*/ 5752733 h 6324599"/>
              <a:gd name="connsiteX58" fmla="*/ 6495546 w 11650559"/>
              <a:gd name="connsiteY58" fmla="*/ 5770510 h 6324599"/>
              <a:gd name="connsiteX59" fmla="*/ 6433823 w 11650559"/>
              <a:gd name="connsiteY59" fmla="*/ 5715641 h 6324599"/>
              <a:gd name="connsiteX60" fmla="*/ 6565828 w 11650559"/>
              <a:gd name="connsiteY60" fmla="*/ 5715641 h 6324599"/>
              <a:gd name="connsiteX61" fmla="*/ 6483690 w 11650559"/>
              <a:gd name="connsiteY61" fmla="*/ 5610591 h 6324599"/>
              <a:gd name="connsiteX62" fmla="*/ 6131227 w 11650559"/>
              <a:gd name="connsiteY62" fmla="*/ 5610591 h 6324599"/>
              <a:gd name="connsiteX63" fmla="*/ 6044619 w 11650559"/>
              <a:gd name="connsiteY63" fmla="*/ 5702810 h 6324599"/>
              <a:gd name="connsiteX64" fmla="*/ 6141612 w 11650559"/>
              <a:gd name="connsiteY64" fmla="*/ 5799756 h 6324599"/>
              <a:gd name="connsiteX65" fmla="*/ 6200771 w 11650559"/>
              <a:gd name="connsiteY65" fmla="*/ 5787493 h 6324599"/>
              <a:gd name="connsiteX66" fmla="*/ 6200771 w 11650559"/>
              <a:gd name="connsiteY66" fmla="*/ 5752733 h 6324599"/>
              <a:gd name="connsiteX67" fmla="*/ 6143084 w 11650559"/>
              <a:gd name="connsiteY67" fmla="*/ 5770510 h 6324599"/>
              <a:gd name="connsiteX68" fmla="*/ 6081360 w 11650559"/>
              <a:gd name="connsiteY68" fmla="*/ 5715641 h 6324599"/>
              <a:gd name="connsiteX69" fmla="*/ 6213365 w 11650559"/>
              <a:gd name="connsiteY69" fmla="*/ 5715641 h 6324599"/>
              <a:gd name="connsiteX70" fmla="*/ 6131227 w 11650559"/>
              <a:gd name="connsiteY70" fmla="*/ 5610591 h 6324599"/>
              <a:gd name="connsiteX71" fmla="*/ 6643495 w 11650559"/>
              <a:gd name="connsiteY71" fmla="*/ 5568561 h 6324599"/>
              <a:gd name="connsiteX72" fmla="*/ 6607042 w 11650559"/>
              <a:gd name="connsiteY72" fmla="*/ 5582159 h 6324599"/>
              <a:gd name="connsiteX73" fmla="*/ 6607042 w 11650559"/>
              <a:gd name="connsiteY73" fmla="*/ 5615001 h 6324599"/>
              <a:gd name="connsiteX74" fmla="*/ 6578438 w 11650559"/>
              <a:gd name="connsiteY74" fmla="*/ 5615001 h 6324599"/>
              <a:gd name="connsiteX75" fmla="*/ 6578438 w 11650559"/>
              <a:gd name="connsiteY75" fmla="*/ 5645222 h 6324599"/>
              <a:gd name="connsiteX76" fmla="*/ 6607042 w 11650559"/>
              <a:gd name="connsiteY76" fmla="*/ 5645222 h 6324599"/>
              <a:gd name="connsiteX77" fmla="*/ 6607042 w 11650559"/>
              <a:gd name="connsiteY77" fmla="*/ 5746514 h 6324599"/>
              <a:gd name="connsiteX78" fmla="*/ 6663373 w 11650559"/>
              <a:gd name="connsiteY78" fmla="*/ 5799748 h 6324599"/>
              <a:gd name="connsiteX79" fmla="*/ 6693018 w 11650559"/>
              <a:gd name="connsiteY79" fmla="*/ 5794326 h 6324599"/>
              <a:gd name="connsiteX80" fmla="*/ 6693018 w 11650559"/>
              <a:gd name="connsiteY80" fmla="*/ 5761682 h 6324599"/>
              <a:gd name="connsiteX81" fmla="*/ 6668911 w 11650559"/>
              <a:gd name="connsiteY81" fmla="*/ 5769519 h 6324599"/>
              <a:gd name="connsiteX82" fmla="*/ 6643495 w 11650559"/>
              <a:gd name="connsiteY82" fmla="*/ 5739933 h 6324599"/>
              <a:gd name="connsiteX83" fmla="*/ 6643495 w 11650559"/>
              <a:gd name="connsiteY83" fmla="*/ 5645222 h 6324599"/>
              <a:gd name="connsiteX84" fmla="*/ 6684019 w 11650559"/>
              <a:gd name="connsiteY84" fmla="*/ 5645222 h 6324599"/>
              <a:gd name="connsiteX85" fmla="*/ 6684019 w 11650559"/>
              <a:gd name="connsiteY85" fmla="*/ 5615001 h 6324599"/>
              <a:gd name="connsiteX86" fmla="*/ 6643495 w 11650559"/>
              <a:gd name="connsiteY86" fmla="*/ 5615001 h 6324599"/>
              <a:gd name="connsiteX87" fmla="*/ 5981476 w 11650559"/>
              <a:gd name="connsiteY87" fmla="*/ 5568561 h 6324599"/>
              <a:gd name="connsiteX88" fmla="*/ 5945027 w 11650559"/>
              <a:gd name="connsiteY88" fmla="*/ 5582159 h 6324599"/>
              <a:gd name="connsiteX89" fmla="*/ 5945027 w 11650559"/>
              <a:gd name="connsiteY89" fmla="*/ 5615005 h 6324599"/>
              <a:gd name="connsiteX90" fmla="*/ 5916419 w 11650559"/>
              <a:gd name="connsiteY90" fmla="*/ 5615005 h 6324599"/>
              <a:gd name="connsiteX91" fmla="*/ 5916419 w 11650559"/>
              <a:gd name="connsiteY91" fmla="*/ 5645222 h 6324599"/>
              <a:gd name="connsiteX92" fmla="*/ 5945027 w 11650559"/>
              <a:gd name="connsiteY92" fmla="*/ 5645222 h 6324599"/>
              <a:gd name="connsiteX93" fmla="*/ 5945027 w 11650559"/>
              <a:gd name="connsiteY93" fmla="*/ 5746518 h 6324599"/>
              <a:gd name="connsiteX94" fmla="*/ 6001354 w 11650559"/>
              <a:gd name="connsiteY94" fmla="*/ 5799748 h 6324599"/>
              <a:gd name="connsiteX95" fmla="*/ 6030999 w 11650559"/>
              <a:gd name="connsiteY95" fmla="*/ 5794326 h 6324599"/>
              <a:gd name="connsiteX96" fmla="*/ 6030999 w 11650559"/>
              <a:gd name="connsiteY96" fmla="*/ 5761682 h 6324599"/>
              <a:gd name="connsiteX97" fmla="*/ 6006892 w 11650559"/>
              <a:gd name="connsiteY97" fmla="*/ 5769519 h 6324599"/>
              <a:gd name="connsiteX98" fmla="*/ 5981476 w 11650559"/>
              <a:gd name="connsiteY98" fmla="*/ 5739933 h 6324599"/>
              <a:gd name="connsiteX99" fmla="*/ 5981476 w 11650559"/>
              <a:gd name="connsiteY99" fmla="*/ 5645222 h 6324599"/>
              <a:gd name="connsiteX100" fmla="*/ 6022004 w 11650559"/>
              <a:gd name="connsiteY100" fmla="*/ 5645222 h 6324599"/>
              <a:gd name="connsiteX101" fmla="*/ 6022004 w 11650559"/>
              <a:gd name="connsiteY101" fmla="*/ 5615005 h 6324599"/>
              <a:gd name="connsiteX102" fmla="*/ 5981476 w 11650559"/>
              <a:gd name="connsiteY102" fmla="*/ 5615005 h 6324599"/>
              <a:gd name="connsiteX103" fmla="*/ 6242667 w 11650559"/>
              <a:gd name="connsiteY103" fmla="*/ 5548696 h 6324599"/>
              <a:gd name="connsiteX104" fmla="*/ 6242667 w 11650559"/>
              <a:gd name="connsiteY104" fmla="*/ 5795514 h 6324599"/>
              <a:gd name="connsiteX105" fmla="*/ 6279116 w 11650559"/>
              <a:gd name="connsiteY105" fmla="*/ 5795514 h 6324599"/>
              <a:gd name="connsiteX106" fmla="*/ 6279116 w 11650559"/>
              <a:gd name="connsiteY106" fmla="*/ 5707967 h 6324599"/>
              <a:gd name="connsiteX107" fmla="*/ 6355262 w 11650559"/>
              <a:gd name="connsiteY107" fmla="*/ 5795514 h 6324599"/>
              <a:gd name="connsiteX108" fmla="*/ 6404233 w 11650559"/>
              <a:gd name="connsiteY108" fmla="*/ 5795514 h 6324599"/>
              <a:gd name="connsiteX109" fmla="*/ 6313155 w 11650559"/>
              <a:gd name="connsiteY109" fmla="*/ 5695218 h 6324599"/>
              <a:gd name="connsiteX110" fmla="*/ 6394212 w 11650559"/>
              <a:gd name="connsiteY110" fmla="*/ 5614915 h 6324599"/>
              <a:gd name="connsiteX111" fmla="*/ 6347360 w 11650559"/>
              <a:gd name="connsiteY111" fmla="*/ 5614915 h 6324599"/>
              <a:gd name="connsiteX112" fmla="*/ 6279116 w 11650559"/>
              <a:gd name="connsiteY112" fmla="*/ 5683838 h 6324599"/>
              <a:gd name="connsiteX113" fmla="*/ 6279116 w 11650559"/>
              <a:gd name="connsiteY113" fmla="*/ 5548696 h 6324599"/>
              <a:gd name="connsiteX114" fmla="*/ 5125081 w 11650559"/>
              <a:gd name="connsiteY114" fmla="*/ 5539928 h 6324599"/>
              <a:gd name="connsiteX115" fmla="*/ 4957540 w 11650559"/>
              <a:gd name="connsiteY115" fmla="*/ 5703149 h 6324599"/>
              <a:gd name="connsiteX116" fmla="*/ 5125081 w 11650559"/>
              <a:gd name="connsiteY116" fmla="*/ 5866367 h 6324599"/>
              <a:gd name="connsiteX117" fmla="*/ 5286573 w 11650559"/>
              <a:gd name="connsiteY117" fmla="*/ 5866367 h 6324599"/>
              <a:gd name="connsiteX118" fmla="*/ 5286573 w 11650559"/>
              <a:gd name="connsiteY118" fmla="*/ 5539928 h 6324599"/>
              <a:gd name="connsiteX119" fmla="*/ 0 w 11650559"/>
              <a:gd name="connsiteY119" fmla="*/ 0 h 6324599"/>
              <a:gd name="connsiteX120" fmla="*/ 11650559 w 11650559"/>
              <a:gd name="connsiteY120" fmla="*/ 0 h 6324599"/>
              <a:gd name="connsiteX121" fmla="*/ 11650559 w 11650559"/>
              <a:gd name="connsiteY121" fmla="*/ 6324599 h 6324599"/>
              <a:gd name="connsiteX122" fmla="*/ 0 w 11650559"/>
              <a:gd name="connsiteY122" fmla="*/ 6324599 h 632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11650559" h="6324599">
                <a:moveTo>
                  <a:pt x="5440591" y="5708644"/>
                </a:moveTo>
                <a:cubicBezTo>
                  <a:pt x="5447523" y="5708644"/>
                  <a:pt x="5454447" y="5709340"/>
                  <a:pt x="5461375" y="5709340"/>
                </a:cubicBezTo>
                <a:lnTo>
                  <a:pt x="5461375" y="5724928"/>
                </a:lnTo>
                <a:cubicBezTo>
                  <a:pt x="5461375" y="5751297"/>
                  <a:pt x="5444409" y="5771385"/>
                  <a:pt x="5412190" y="5771385"/>
                </a:cubicBezTo>
                <a:cubicBezTo>
                  <a:pt x="5397296" y="5771385"/>
                  <a:pt x="5379288" y="5761347"/>
                  <a:pt x="5379288" y="5742610"/>
                </a:cubicBezTo>
                <a:cubicBezTo>
                  <a:pt x="5379288" y="5711416"/>
                  <a:pt x="5422931" y="5708644"/>
                  <a:pt x="5440591" y="5708644"/>
                </a:cubicBezTo>
                <a:close/>
                <a:moveTo>
                  <a:pt x="5815068" y="5639654"/>
                </a:moveTo>
                <a:cubicBezTo>
                  <a:pt x="5850368" y="5639654"/>
                  <a:pt x="5869418" y="5673410"/>
                  <a:pt x="5869418" y="5705153"/>
                </a:cubicBezTo>
                <a:cubicBezTo>
                  <a:pt x="5869418" y="5736729"/>
                  <a:pt x="5852671" y="5770716"/>
                  <a:pt x="5815068" y="5770716"/>
                </a:cubicBezTo>
                <a:cubicBezTo>
                  <a:pt x="5777466" y="5770716"/>
                  <a:pt x="5760333" y="5736729"/>
                  <a:pt x="5760333" y="5705153"/>
                </a:cubicBezTo>
                <a:cubicBezTo>
                  <a:pt x="5760333" y="5673410"/>
                  <a:pt x="5779516" y="5639654"/>
                  <a:pt x="5815068" y="5639654"/>
                </a:cubicBezTo>
                <a:close/>
                <a:moveTo>
                  <a:pt x="5615166" y="5639028"/>
                </a:moveTo>
                <a:cubicBezTo>
                  <a:pt x="5650500" y="5639028"/>
                  <a:pt x="5664351" y="5672624"/>
                  <a:pt x="5663664" y="5704492"/>
                </a:cubicBezTo>
                <a:cubicBezTo>
                  <a:pt x="5664351" y="5732204"/>
                  <a:pt x="5649801" y="5771385"/>
                  <a:pt x="5614823" y="5771385"/>
                </a:cubicBezTo>
                <a:cubicBezTo>
                  <a:pt x="5578108" y="5771385"/>
                  <a:pt x="5562867" y="5734979"/>
                  <a:pt x="5562867" y="5705530"/>
                </a:cubicBezTo>
                <a:cubicBezTo>
                  <a:pt x="5562867" y="5672624"/>
                  <a:pt x="5579837" y="5639028"/>
                  <a:pt x="5615166" y="5639028"/>
                </a:cubicBezTo>
                <a:close/>
                <a:moveTo>
                  <a:pt x="6482815" y="5638937"/>
                </a:moveTo>
                <a:cubicBezTo>
                  <a:pt x="6512563" y="5638937"/>
                  <a:pt x="6529464" y="5661492"/>
                  <a:pt x="6529464" y="5688672"/>
                </a:cubicBezTo>
                <a:lnTo>
                  <a:pt x="6432480" y="5688672"/>
                </a:lnTo>
                <a:cubicBezTo>
                  <a:pt x="6435054" y="5665670"/>
                  <a:pt x="6449004" y="5638937"/>
                  <a:pt x="6482815" y="5638937"/>
                </a:cubicBezTo>
                <a:close/>
                <a:moveTo>
                  <a:pt x="6130348" y="5638937"/>
                </a:moveTo>
                <a:cubicBezTo>
                  <a:pt x="6160101" y="5638937"/>
                  <a:pt x="6177002" y="5661492"/>
                  <a:pt x="6177002" y="5688672"/>
                </a:cubicBezTo>
                <a:lnTo>
                  <a:pt x="6080017" y="5688672"/>
                </a:lnTo>
                <a:cubicBezTo>
                  <a:pt x="6082591" y="5665670"/>
                  <a:pt x="6096537" y="5638937"/>
                  <a:pt x="6130348" y="5638937"/>
                </a:cubicBezTo>
                <a:close/>
                <a:moveTo>
                  <a:pt x="5815068" y="5610866"/>
                </a:moveTo>
                <a:cubicBezTo>
                  <a:pt x="5760976" y="5610866"/>
                  <a:pt x="5723198" y="5649640"/>
                  <a:pt x="5723198" y="5705153"/>
                </a:cubicBezTo>
                <a:cubicBezTo>
                  <a:pt x="5723198" y="5758940"/>
                  <a:pt x="5762701" y="5799504"/>
                  <a:pt x="5815068" y="5799504"/>
                </a:cubicBezTo>
                <a:cubicBezTo>
                  <a:pt x="5867222" y="5799504"/>
                  <a:pt x="5906549" y="5758940"/>
                  <a:pt x="5906549" y="5705153"/>
                </a:cubicBezTo>
                <a:cubicBezTo>
                  <a:pt x="5906549" y="5649640"/>
                  <a:pt x="5868925" y="5610866"/>
                  <a:pt x="5815068" y="5610866"/>
                </a:cubicBezTo>
                <a:close/>
                <a:moveTo>
                  <a:pt x="5622090" y="5610763"/>
                </a:moveTo>
                <a:cubicBezTo>
                  <a:pt x="5593945" y="5610763"/>
                  <a:pt x="5573973" y="5623654"/>
                  <a:pt x="5563425" y="5636913"/>
                </a:cubicBezTo>
                <a:lnTo>
                  <a:pt x="5563425" y="5614911"/>
                </a:lnTo>
                <a:lnTo>
                  <a:pt x="5528361" y="5614911"/>
                </a:lnTo>
                <a:lnTo>
                  <a:pt x="5528361" y="5858500"/>
                </a:lnTo>
                <a:lnTo>
                  <a:pt x="5564810" y="5858500"/>
                </a:lnTo>
                <a:lnTo>
                  <a:pt x="5564810" y="5774414"/>
                </a:lnTo>
                <a:cubicBezTo>
                  <a:pt x="5577078" y="5791096"/>
                  <a:pt x="5596373" y="5799654"/>
                  <a:pt x="5622446" y="5799654"/>
                </a:cubicBezTo>
                <a:cubicBezTo>
                  <a:pt x="5679862" y="5799654"/>
                  <a:pt x="5700243" y="5747084"/>
                  <a:pt x="5700243" y="5702073"/>
                </a:cubicBezTo>
                <a:cubicBezTo>
                  <a:pt x="5700243" y="5659949"/>
                  <a:pt x="5679768" y="5610763"/>
                  <a:pt x="5622090" y="5610763"/>
                </a:cubicBezTo>
                <a:close/>
                <a:moveTo>
                  <a:pt x="5422931" y="5610763"/>
                </a:moveTo>
                <a:cubicBezTo>
                  <a:pt x="5401324" y="5610763"/>
                  <a:pt x="5381544" y="5617056"/>
                  <a:pt x="5362726" y="5628270"/>
                </a:cubicBezTo>
                <a:lnTo>
                  <a:pt x="5364768" y="5661016"/>
                </a:lnTo>
                <a:cubicBezTo>
                  <a:pt x="5378263" y="5648937"/>
                  <a:pt x="5397442" y="5640975"/>
                  <a:pt x="5417736" y="5640975"/>
                </a:cubicBezTo>
                <a:cubicBezTo>
                  <a:pt x="5446656" y="5640975"/>
                  <a:pt x="5458758" y="5653295"/>
                  <a:pt x="5459324" y="5683057"/>
                </a:cubicBezTo>
                <a:cubicBezTo>
                  <a:pt x="5447604" y="5682491"/>
                  <a:pt x="5438682" y="5682465"/>
                  <a:pt x="5426740" y="5682465"/>
                </a:cubicBezTo>
                <a:cubicBezTo>
                  <a:pt x="5395533" y="5682465"/>
                  <a:pt x="5342706" y="5695128"/>
                  <a:pt x="5342706" y="5742610"/>
                </a:cubicBezTo>
                <a:cubicBezTo>
                  <a:pt x="5342706" y="5779402"/>
                  <a:pt x="5366402" y="5799654"/>
                  <a:pt x="5409423" y="5799654"/>
                </a:cubicBezTo>
                <a:cubicBezTo>
                  <a:pt x="5438211" y="5799654"/>
                  <a:pt x="5455107" y="5784837"/>
                  <a:pt x="5462893" y="5775507"/>
                </a:cubicBezTo>
                <a:lnTo>
                  <a:pt x="5462893" y="5795514"/>
                </a:lnTo>
                <a:lnTo>
                  <a:pt x="5497544" y="5795514"/>
                </a:lnTo>
                <a:cubicBezTo>
                  <a:pt x="5496086" y="5784824"/>
                  <a:pt x="5495872" y="5775589"/>
                  <a:pt x="5495872" y="5758919"/>
                </a:cubicBezTo>
                <a:lnTo>
                  <a:pt x="5495872" y="5685798"/>
                </a:lnTo>
                <a:cubicBezTo>
                  <a:pt x="5495872" y="5634597"/>
                  <a:pt x="5472695" y="5610763"/>
                  <a:pt x="5422931" y="5610763"/>
                </a:cubicBezTo>
                <a:close/>
                <a:moveTo>
                  <a:pt x="6483690" y="5610591"/>
                </a:moveTo>
                <a:cubicBezTo>
                  <a:pt x="6430790" y="5610591"/>
                  <a:pt x="6397086" y="5650180"/>
                  <a:pt x="6397086" y="5702810"/>
                </a:cubicBezTo>
                <a:cubicBezTo>
                  <a:pt x="6397086" y="5760652"/>
                  <a:pt x="6431142" y="5799756"/>
                  <a:pt x="6494075" y="5799756"/>
                </a:cubicBezTo>
                <a:cubicBezTo>
                  <a:pt x="6524939" y="5799756"/>
                  <a:pt x="6540000" y="5792022"/>
                  <a:pt x="6553234" y="5787493"/>
                </a:cubicBezTo>
                <a:lnTo>
                  <a:pt x="6553234" y="5752733"/>
                </a:lnTo>
                <a:cubicBezTo>
                  <a:pt x="6544787" y="5759361"/>
                  <a:pt x="6518324" y="5770510"/>
                  <a:pt x="6495546" y="5770510"/>
                </a:cubicBezTo>
                <a:cubicBezTo>
                  <a:pt x="6462846" y="5770510"/>
                  <a:pt x="6433823" y="5750833"/>
                  <a:pt x="6433823" y="5715641"/>
                </a:cubicBezTo>
                <a:lnTo>
                  <a:pt x="6565828" y="5715641"/>
                </a:lnTo>
                <a:cubicBezTo>
                  <a:pt x="6567124" y="5658194"/>
                  <a:pt x="6545946" y="5610591"/>
                  <a:pt x="6483690" y="5610591"/>
                </a:cubicBezTo>
                <a:close/>
                <a:moveTo>
                  <a:pt x="6131227" y="5610591"/>
                </a:moveTo>
                <a:cubicBezTo>
                  <a:pt x="6078327" y="5610591"/>
                  <a:pt x="6044619" y="5650180"/>
                  <a:pt x="6044619" y="5702810"/>
                </a:cubicBezTo>
                <a:cubicBezTo>
                  <a:pt x="6044619" y="5760652"/>
                  <a:pt x="6078675" y="5799756"/>
                  <a:pt x="6141612" y="5799756"/>
                </a:cubicBezTo>
                <a:cubicBezTo>
                  <a:pt x="6172476" y="5799756"/>
                  <a:pt x="6187537" y="5792022"/>
                  <a:pt x="6200771" y="5787493"/>
                </a:cubicBezTo>
                <a:lnTo>
                  <a:pt x="6200771" y="5752733"/>
                </a:lnTo>
                <a:cubicBezTo>
                  <a:pt x="6192324" y="5759361"/>
                  <a:pt x="6165862" y="5770510"/>
                  <a:pt x="6143084" y="5770510"/>
                </a:cubicBezTo>
                <a:cubicBezTo>
                  <a:pt x="6110384" y="5770510"/>
                  <a:pt x="6081360" y="5750833"/>
                  <a:pt x="6081360" y="5715641"/>
                </a:cubicBezTo>
                <a:lnTo>
                  <a:pt x="6213365" y="5715641"/>
                </a:lnTo>
                <a:cubicBezTo>
                  <a:pt x="6214656" y="5658194"/>
                  <a:pt x="6193483" y="5610591"/>
                  <a:pt x="6131227" y="5610591"/>
                </a:cubicBezTo>
                <a:close/>
                <a:moveTo>
                  <a:pt x="6643495" y="5568561"/>
                </a:moveTo>
                <a:lnTo>
                  <a:pt x="6607042" y="5582159"/>
                </a:lnTo>
                <a:lnTo>
                  <a:pt x="6607042" y="5615001"/>
                </a:lnTo>
                <a:lnTo>
                  <a:pt x="6578438" y="5615001"/>
                </a:lnTo>
                <a:lnTo>
                  <a:pt x="6578438" y="5645222"/>
                </a:lnTo>
                <a:lnTo>
                  <a:pt x="6607042" y="5645222"/>
                </a:lnTo>
                <a:lnTo>
                  <a:pt x="6607042" y="5746514"/>
                </a:lnTo>
                <a:cubicBezTo>
                  <a:pt x="6607042" y="5781333"/>
                  <a:pt x="6626521" y="5799748"/>
                  <a:pt x="6663373" y="5799748"/>
                </a:cubicBezTo>
                <a:cubicBezTo>
                  <a:pt x="6674397" y="5799748"/>
                  <a:pt x="6686326" y="5796552"/>
                  <a:pt x="6693018" y="5794326"/>
                </a:cubicBezTo>
                <a:lnTo>
                  <a:pt x="6693018" y="5761682"/>
                </a:lnTo>
                <a:cubicBezTo>
                  <a:pt x="6684126" y="5767932"/>
                  <a:pt x="6676799" y="5769519"/>
                  <a:pt x="6668911" y="5769519"/>
                </a:cubicBezTo>
                <a:cubicBezTo>
                  <a:pt x="6656252" y="5769519"/>
                  <a:pt x="6643477" y="5760378"/>
                  <a:pt x="6643495" y="5739933"/>
                </a:cubicBezTo>
                <a:lnTo>
                  <a:pt x="6643495" y="5645222"/>
                </a:lnTo>
                <a:lnTo>
                  <a:pt x="6684019" y="5645222"/>
                </a:lnTo>
                <a:lnTo>
                  <a:pt x="6684019" y="5615001"/>
                </a:lnTo>
                <a:lnTo>
                  <a:pt x="6643495" y="5615001"/>
                </a:lnTo>
                <a:close/>
                <a:moveTo>
                  <a:pt x="5981476" y="5568561"/>
                </a:moveTo>
                <a:lnTo>
                  <a:pt x="5945027" y="5582159"/>
                </a:lnTo>
                <a:lnTo>
                  <a:pt x="5945027" y="5615005"/>
                </a:lnTo>
                <a:lnTo>
                  <a:pt x="5916419" y="5615005"/>
                </a:lnTo>
                <a:lnTo>
                  <a:pt x="5916419" y="5645222"/>
                </a:lnTo>
                <a:lnTo>
                  <a:pt x="5945027" y="5645222"/>
                </a:lnTo>
                <a:lnTo>
                  <a:pt x="5945027" y="5746518"/>
                </a:lnTo>
                <a:cubicBezTo>
                  <a:pt x="5945027" y="5781333"/>
                  <a:pt x="5964502" y="5799748"/>
                  <a:pt x="6001354" y="5799748"/>
                </a:cubicBezTo>
                <a:cubicBezTo>
                  <a:pt x="6012378" y="5799748"/>
                  <a:pt x="6024307" y="5796552"/>
                  <a:pt x="6030999" y="5794326"/>
                </a:cubicBezTo>
                <a:lnTo>
                  <a:pt x="6030999" y="5761682"/>
                </a:lnTo>
                <a:cubicBezTo>
                  <a:pt x="6022107" y="5767936"/>
                  <a:pt x="6014785" y="5769519"/>
                  <a:pt x="6006892" y="5769519"/>
                </a:cubicBezTo>
                <a:cubicBezTo>
                  <a:pt x="5994233" y="5769519"/>
                  <a:pt x="5981458" y="5760378"/>
                  <a:pt x="5981476" y="5739933"/>
                </a:cubicBezTo>
                <a:lnTo>
                  <a:pt x="5981476" y="5645222"/>
                </a:lnTo>
                <a:lnTo>
                  <a:pt x="6022004" y="5645222"/>
                </a:lnTo>
                <a:lnTo>
                  <a:pt x="6022004" y="5615005"/>
                </a:lnTo>
                <a:lnTo>
                  <a:pt x="5981476" y="5615005"/>
                </a:lnTo>
                <a:close/>
                <a:moveTo>
                  <a:pt x="6242667" y="5548696"/>
                </a:moveTo>
                <a:lnTo>
                  <a:pt x="6242667" y="5795514"/>
                </a:lnTo>
                <a:lnTo>
                  <a:pt x="6279116" y="5795514"/>
                </a:lnTo>
                <a:lnTo>
                  <a:pt x="6279116" y="5707967"/>
                </a:lnTo>
                <a:cubicBezTo>
                  <a:pt x="6285362" y="5715152"/>
                  <a:pt x="6355262" y="5795514"/>
                  <a:pt x="6355262" y="5795514"/>
                </a:cubicBezTo>
                <a:lnTo>
                  <a:pt x="6404233" y="5795514"/>
                </a:lnTo>
                <a:cubicBezTo>
                  <a:pt x="6404233" y="5795514"/>
                  <a:pt x="6315733" y="5697959"/>
                  <a:pt x="6313155" y="5695218"/>
                </a:cubicBezTo>
                <a:cubicBezTo>
                  <a:pt x="6315866" y="5692644"/>
                  <a:pt x="6394212" y="5614915"/>
                  <a:pt x="6394212" y="5614915"/>
                </a:cubicBezTo>
                <a:lnTo>
                  <a:pt x="6347360" y="5614915"/>
                </a:lnTo>
                <a:cubicBezTo>
                  <a:pt x="6347360" y="5614915"/>
                  <a:pt x="6285156" y="5677725"/>
                  <a:pt x="6279116" y="5683838"/>
                </a:cubicBezTo>
                <a:lnTo>
                  <a:pt x="6279116" y="5548696"/>
                </a:lnTo>
                <a:close/>
                <a:moveTo>
                  <a:pt x="5125081" y="5539928"/>
                </a:moveTo>
                <a:cubicBezTo>
                  <a:pt x="5034938" y="5539928"/>
                  <a:pt x="4957540" y="5613002"/>
                  <a:pt x="4957540" y="5703149"/>
                </a:cubicBezTo>
                <a:cubicBezTo>
                  <a:pt x="4957540" y="5793293"/>
                  <a:pt x="5034938" y="5866367"/>
                  <a:pt x="5125081" y="5866367"/>
                </a:cubicBezTo>
                <a:lnTo>
                  <a:pt x="5286573" y="5866367"/>
                </a:lnTo>
                <a:lnTo>
                  <a:pt x="5286573" y="5539928"/>
                </a:lnTo>
                <a:close/>
                <a:moveTo>
                  <a:pt x="0" y="0"/>
                </a:moveTo>
                <a:lnTo>
                  <a:pt x="11650559" y="0"/>
                </a:lnTo>
                <a:lnTo>
                  <a:pt x="11650559" y="6324599"/>
                </a:lnTo>
                <a:lnTo>
                  <a:pt x="0" y="63245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6000" bIns="100800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8" name="Rubrik 33">
            <a:extLst>
              <a:ext uri="{FF2B5EF4-FFF2-40B4-BE49-F238E27FC236}">
                <a16:creationId xmlns:a16="http://schemas.microsoft.com/office/drawing/2014/main" id="{CF863F98-716B-4959-9AE1-227932375CD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743200" y="1944694"/>
            <a:ext cx="6705602" cy="138791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9" name="Platshållare för text 11">
            <a:extLst>
              <a:ext uri="{FF2B5EF4-FFF2-40B4-BE49-F238E27FC236}">
                <a16:creationId xmlns:a16="http://schemas.microsoft.com/office/drawing/2014/main" id="{C96B6868-88A8-4722-B416-4A2A0549737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2743201" y="3553213"/>
            <a:ext cx="6705602" cy="1014412"/>
          </a:xfrm>
        </p:spPr>
        <p:txBody>
          <a:bodyPr>
            <a:normAutofit/>
          </a:bodyPr>
          <a:lstStyle>
            <a:lvl1pPr marL="0" indent="0" algn="ctr">
              <a:buNone/>
              <a:defRPr sz="20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Frihandsfigur: Form 44">
            <a:extLst>
              <a:ext uri="{FF2B5EF4-FFF2-40B4-BE49-F238E27FC236}">
                <a16:creationId xmlns:a16="http://schemas.microsoft.com/office/drawing/2014/main" id="{CE41976F-B2D8-4F55-8AF6-EE93AF203F90}"/>
              </a:ext>
            </a:extLst>
          </p:cNvPr>
          <p:cNvSpPr/>
          <p:nvPr/>
        </p:nvSpPr>
        <p:spPr>
          <a:xfrm>
            <a:off x="5228261" y="5806629"/>
            <a:ext cx="329032" cy="326438"/>
          </a:xfrm>
          <a:custGeom>
            <a:avLst/>
            <a:gdLst>
              <a:gd name="connsiteX0" fmla="*/ 372018 w 730605"/>
              <a:gd name="connsiteY0" fmla="*/ 0 h 724842"/>
              <a:gd name="connsiteX1" fmla="*/ 0 w 730605"/>
              <a:gd name="connsiteY1" fmla="*/ 362426 h 724842"/>
              <a:gd name="connsiteX2" fmla="*/ 372018 w 730605"/>
              <a:gd name="connsiteY2" fmla="*/ 724843 h 724842"/>
              <a:gd name="connsiteX3" fmla="*/ 730606 w 730605"/>
              <a:gd name="connsiteY3" fmla="*/ 724843 h 724842"/>
              <a:gd name="connsiteX4" fmla="*/ 730606 w 730605"/>
              <a:gd name="connsiteY4" fmla="*/ 0 h 724842"/>
              <a:gd name="connsiteX5" fmla="*/ 372018 w 730605"/>
              <a:gd name="connsiteY5" fmla="*/ 0 h 724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0605" h="724842">
                <a:moveTo>
                  <a:pt x="372018" y="0"/>
                </a:moveTo>
                <a:cubicBezTo>
                  <a:pt x="171860" y="0"/>
                  <a:pt x="0" y="162258"/>
                  <a:pt x="0" y="362426"/>
                </a:cubicBezTo>
                <a:cubicBezTo>
                  <a:pt x="0" y="562585"/>
                  <a:pt x="171860" y="724843"/>
                  <a:pt x="372018" y="724843"/>
                </a:cubicBezTo>
                <a:lnTo>
                  <a:pt x="730606" y="724843"/>
                </a:lnTo>
                <a:lnTo>
                  <a:pt x="730606" y="0"/>
                </a:lnTo>
                <a:lnTo>
                  <a:pt x="372018" y="0"/>
                </a:lnTo>
                <a:close/>
              </a:path>
            </a:pathLst>
          </a:custGeom>
          <a:solidFill>
            <a:srgbClr val="51AF3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46" name="Frihandsfigur: Form 45">
            <a:extLst>
              <a:ext uri="{FF2B5EF4-FFF2-40B4-BE49-F238E27FC236}">
                <a16:creationId xmlns:a16="http://schemas.microsoft.com/office/drawing/2014/main" id="{1180F069-10A2-453B-87F4-87C323256AD6}"/>
              </a:ext>
            </a:extLst>
          </p:cNvPr>
          <p:cNvSpPr/>
          <p:nvPr/>
        </p:nvSpPr>
        <p:spPr>
          <a:xfrm>
            <a:off x="5301399" y="5845459"/>
            <a:ext cx="222477" cy="241868"/>
          </a:xfrm>
          <a:custGeom>
            <a:avLst/>
            <a:gdLst>
              <a:gd name="connsiteX0" fmla="*/ 494005 w 494004"/>
              <a:gd name="connsiteY0" fmla="*/ 344329 h 537057"/>
              <a:gd name="connsiteX1" fmla="*/ 456114 w 494004"/>
              <a:gd name="connsiteY1" fmla="*/ 268529 h 537057"/>
              <a:gd name="connsiteX2" fmla="*/ 411528 w 494004"/>
              <a:gd name="connsiteY2" fmla="*/ 268529 h 537057"/>
              <a:gd name="connsiteX3" fmla="*/ 411528 w 494004"/>
              <a:gd name="connsiteY3" fmla="*/ 122063 h 537057"/>
              <a:gd name="connsiteX4" fmla="*/ 289455 w 494004"/>
              <a:gd name="connsiteY4" fmla="*/ 0 h 537057"/>
              <a:gd name="connsiteX5" fmla="*/ 167383 w 494004"/>
              <a:gd name="connsiteY5" fmla="*/ 122063 h 537057"/>
              <a:gd name="connsiteX6" fmla="*/ 167383 w 494004"/>
              <a:gd name="connsiteY6" fmla="*/ 215589 h 537057"/>
              <a:gd name="connsiteX7" fmla="*/ 244135 w 494004"/>
              <a:gd name="connsiteY7" fmla="*/ 177213 h 537057"/>
              <a:gd name="connsiteX8" fmla="*/ 244135 w 494004"/>
              <a:gd name="connsiteY8" fmla="*/ 121120 h 537057"/>
              <a:gd name="connsiteX9" fmla="*/ 289455 w 494004"/>
              <a:gd name="connsiteY9" fmla="*/ 75800 h 537057"/>
              <a:gd name="connsiteX10" fmla="*/ 334775 w 494004"/>
              <a:gd name="connsiteY10" fmla="*/ 121120 h 537057"/>
              <a:gd name="connsiteX11" fmla="*/ 334775 w 494004"/>
              <a:gd name="connsiteY11" fmla="*/ 268529 h 537057"/>
              <a:gd name="connsiteX12" fmla="*/ 9754 w 494004"/>
              <a:gd name="connsiteY12" fmla="*/ 268529 h 537057"/>
              <a:gd name="connsiteX13" fmla="*/ 0 w 494004"/>
              <a:gd name="connsiteY13" fmla="*/ 331299 h 537057"/>
              <a:gd name="connsiteX14" fmla="*/ 205759 w 494004"/>
              <a:gd name="connsiteY14" fmla="*/ 537058 h 537057"/>
              <a:gd name="connsiteX15" fmla="*/ 411118 w 494004"/>
              <a:gd name="connsiteY15" fmla="*/ 344329 h 537057"/>
              <a:gd name="connsiteX16" fmla="*/ 494005 w 494004"/>
              <a:gd name="connsiteY16" fmla="*/ 344329 h 537057"/>
              <a:gd name="connsiteX17" fmla="*/ 205759 w 494004"/>
              <a:gd name="connsiteY17" fmla="*/ 461258 h 537057"/>
              <a:gd name="connsiteX18" fmla="*/ 77400 w 494004"/>
              <a:gd name="connsiteY18" fmla="*/ 344329 h 537057"/>
              <a:gd name="connsiteX19" fmla="*/ 334118 w 494004"/>
              <a:gd name="connsiteY19" fmla="*/ 344329 h 537057"/>
              <a:gd name="connsiteX20" fmla="*/ 205759 w 494004"/>
              <a:gd name="connsiteY20" fmla="*/ 461258 h 537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94004" h="537057">
                <a:moveTo>
                  <a:pt x="494005" y="344329"/>
                </a:moveTo>
                <a:lnTo>
                  <a:pt x="456114" y="268529"/>
                </a:lnTo>
                <a:lnTo>
                  <a:pt x="411528" y="268529"/>
                </a:lnTo>
                <a:lnTo>
                  <a:pt x="411528" y="122063"/>
                </a:lnTo>
                <a:cubicBezTo>
                  <a:pt x="411528" y="54645"/>
                  <a:pt x="356873" y="0"/>
                  <a:pt x="289455" y="0"/>
                </a:cubicBezTo>
                <a:cubicBezTo>
                  <a:pt x="222037" y="0"/>
                  <a:pt x="167383" y="54645"/>
                  <a:pt x="167383" y="122063"/>
                </a:cubicBezTo>
                <a:lnTo>
                  <a:pt x="167383" y="215589"/>
                </a:lnTo>
                <a:lnTo>
                  <a:pt x="244135" y="177213"/>
                </a:lnTo>
                <a:lnTo>
                  <a:pt x="244135" y="121120"/>
                </a:lnTo>
                <a:cubicBezTo>
                  <a:pt x="244135" y="96088"/>
                  <a:pt x="264424" y="75800"/>
                  <a:pt x="289455" y="75800"/>
                </a:cubicBezTo>
                <a:cubicBezTo>
                  <a:pt x="314487" y="75800"/>
                  <a:pt x="334775" y="96088"/>
                  <a:pt x="334775" y="121120"/>
                </a:cubicBezTo>
                <a:lnTo>
                  <a:pt x="334775" y="268529"/>
                </a:lnTo>
                <a:lnTo>
                  <a:pt x="9754" y="268529"/>
                </a:lnTo>
                <a:cubicBezTo>
                  <a:pt x="3419" y="288312"/>
                  <a:pt x="0" y="309410"/>
                  <a:pt x="0" y="331299"/>
                </a:cubicBezTo>
                <a:cubicBezTo>
                  <a:pt x="0" y="444932"/>
                  <a:pt x="92126" y="537058"/>
                  <a:pt x="205759" y="537058"/>
                </a:cubicBezTo>
                <a:cubicBezTo>
                  <a:pt x="315020" y="537058"/>
                  <a:pt x="404393" y="451904"/>
                  <a:pt x="411118" y="344329"/>
                </a:cubicBezTo>
                <a:lnTo>
                  <a:pt x="494005" y="344329"/>
                </a:lnTo>
                <a:close/>
                <a:moveTo>
                  <a:pt x="205759" y="461258"/>
                </a:moveTo>
                <a:cubicBezTo>
                  <a:pt x="138884" y="461258"/>
                  <a:pt x="83896" y="409985"/>
                  <a:pt x="77400" y="344329"/>
                </a:cubicBezTo>
                <a:lnTo>
                  <a:pt x="334118" y="344329"/>
                </a:lnTo>
                <a:cubicBezTo>
                  <a:pt x="327631" y="409985"/>
                  <a:pt x="272644" y="461258"/>
                  <a:pt x="205759" y="461258"/>
                </a:cubicBezTo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47" name="Frihandsfigur: Form 46">
            <a:extLst>
              <a:ext uri="{FF2B5EF4-FFF2-40B4-BE49-F238E27FC236}">
                <a16:creationId xmlns:a16="http://schemas.microsoft.com/office/drawing/2014/main" id="{D0F92901-BFE4-4E03-8AAB-79BDC5D96465}"/>
              </a:ext>
            </a:extLst>
          </p:cNvPr>
          <p:cNvSpPr/>
          <p:nvPr userDrawn="1"/>
        </p:nvSpPr>
        <p:spPr>
          <a:xfrm rot="5400000">
            <a:off x="2666790" y="-2666789"/>
            <a:ext cx="6858000" cy="12191581"/>
          </a:xfrm>
          <a:custGeom>
            <a:avLst/>
            <a:gdLst>
              <a:gd name="connsiteX0" fmla="*/ 268288 w 6858000"/>
              <a:gd name="connsiteY0" fmla="*/ 11921602 h 12191581"/>
              <a:gd name="connsiteX1" fmla="*/ 6589711 w 6858000"/>
              <a:gd name="connsiteY1" fmla="*/ 11921602 h 12191581"/>
              <a:gd name="connsiteX2" fmla="*/ 6589711 w 6858000"/>
              <a:gd name="connsiteY2" fmla="*/ 271042 h 12191581"/>
              <a:gd name="connsiteX3" fmla="*/ 268288 w 6858000"/>
              <a:gd name="connsiteY3" fmla="*/ 271042 h 12191581"/>
              <a:gd name="connsiteX4" fmla="*/ 0 w 6858000"/>
              <a:gd name="connsiteY4" fmla="*/ 271042 h 12191581"/>
              <a:gd name="connsiteX5" fmla="*/ 0 w 6858000"/>
              <a:gd name="connsiteY5" fmla="*/ 0 h 12191581"/>
              <a:gd name="connsiteX6" fmla="*/ 6858000 w 6858000"/>
              <a:gd name="connsiteY6" fmla="*/ 0 h 12191581"/>
              <a:gd name="connsiteX7" fmla="*/ 6858000 w 6858000"/>
              <a:gd name="connsiteY7" fmla="*/ 271042 h 12191581"/>
              <a:gd name="connsiteX8" fmla="*/ 6857999 w 6858000"/>
              <a:gd name="connsiteY8" fmla="*/ 271042 h 12191581"/>
              <a:gd name="connsiteX9" fmla="*/ 6857999 w 6858000"/>
              <a:gd name="connsiteY9" fmla="*/ 11921602 h 12191581"/>
              <a:gd name="connsiteX10" fmla="*/ 6858000 w 6858000"/>
              <a:gd name="connsiteY10" fmla="*/ 11921602 h 12191581"/>
              <a:gd name="connsiteX11" fmla="*/ 6858000 w 6858000"/>
              <a:gd name="connsiteY11" fmla="*/ 12191581 h 12191581"/>
              <a:gd name="connsiteX12" fmla="*/ 0 w 6858000"/>
              <a:gd name="connsiteY12" fmla="*/ 12191581 h 12191581"/>
              <a:gd name="connsiteX13" fmla="*/ 0 w 6858000"/>
              <a:gd name="connsiteY13" fmla="*/ 11921602 h 12191581"/>
              <a:gd name="connsiteX14" fmla="*/ 0 w 6858000"/>
              <a:gd name="connsiteY14" fmla="*/ 11921602 h 12191581"/>
              <a:gd name="connsiteX15" fmla="*/ 0 w 6858000"/>
              <a:gd name="connsiteY15" fmla="*/ 271042 h 12191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1581">
                <a:moveTo>
                  <a:pt x="268288" y="11921602"/>
                </a:moveTo>
                <a:lnTo>
                  <a:pt x="6589711" y="11921602"/>
                </a:lnTo>
                <a:lnTo>
                  <a:pt x="6589711" y="271042"/>
                </a:lnTo>
                <a:lnTo>
                  <a:pt x="268288" y="271042"/>
                </a:lnTo>
                <a:close/>
                <a:moveTo>
                  <a:pt x="0" y="271042"/>
                </a:moveTo>
                <a:lnTo>
                  <a:pt x="0" y="0"/>
                </a:lnTo>
                <a:lnTo>
                  <a:pt x="6858000" y="0"/>
                </a:lnTo>
                <a:lnTo>
                  <a:pt x="6858000" y="271042"/>
                </a:lnTo>
                <a:lnTo>
                  <a:pt x="6857999" y="271042"/>
                </a:lnTo>
                <a:lnTo>
                  <a:pt x="6857999" y="11921602"/>
                </a:lnTo>
                <a:lnTo>
                  <a:pt x="6858000" y="11921602"/>
                </a:lnTo>
                <a:lnTo>
                  <a:pt x="6858000" y="12191581"/>
                </a:lnTo>
                <a:lnTo>
                  <a:pt x="0" y="12191581"/>
                </a:lnTo>
                <a:lnTo>
                  <a:pt x="0" y="11921602"/>
                </a:lnTo>
                <a:lnTo>
                  <a:pt x="0" y="11921602"/>
                </a:lnTo>
                <a:lnTo>
                  <a:pt x="0" y="2710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17A8266-2B3E-4CE0-810C-D7210BAF35CE}"/>
              </a:ext>
            </a:extLst>
          </p:cNvPr>
          <p:cNvSpPr txBox="1"/>
          <p:nvPr userDrawn="1"/>
        </p:nvSpPr>
        <p:spPr>
          <a:xfrm>
            <a:off x="12295417" y="997376"/>
            <a:ext cx="4201791" cy="83099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sv-SE" sz="1200" b="1" dirty="0"/>
              <a:t>TIPS!</a:t>
            </a:r>
          </a:p>
          <a:p>
            <a:r>
              <a:rPr lang="sv-SE" sz="1200" dirty="0"/>
              <a:t>För att göra logotypen till mörk:</a:t>
            </a:r>
          </a:p>
          <a:p>
            <a:r>
              <a:rPr lang="sv-SE" sz="1200" dirty="0"/>
              <a:t>Högerklicka utanför arbetsytan – välj ”</a:t>
            </a:r>
            <a:r>
              <a:rPr lang="sv-SE" sz="1200" i="1" dirty="0"/>
              <a:t>Formatera bakgrund</a:t>
            </a:r>
            <a:r>
              <a:rPr lang="sv-SE" sz="1200" dirty="0"/>
              <a:t>”</a:t>
            </a:r>
          </a:p>
          <a:p>
            <a:r>
              <a:rPr lang="sv-SE" sz="1200" dirty="0"/>
              <a:t>Välj ”</a:t>
            </a:r>
            <a:r>
              <a:rPr lang="sv-SE" sz="1200" i="1" dirty="0"/>
              <a:t>Hel fyllning</a:t>
            </a:r>
            <a:r>
              <a:rPr lang="sv-SE" sz="1200" dirty="0"/>
              <a:t>” och välj ”</a:t>
            </a:r>
            <a:r>
              <a:rPr lang="sv-SE" sz="1200" i="1" dirty="0"/>
              <a:t>svart</a:t>
            </a:r>
            <a:r>
              <a:rPr lang="sv-SE" sz="1200" dirty="0"/>
              <a:t>”</a:t>
            </a:r>
          </a:p>
        </p:txBody>
      </p:sp>
      <p:grpSp>
        <p:nvGrpSpPr>
          <p:cNvPr id="12" name="Grupp 11">
            <a:extLst>
              <a:ext uri="{FF2B5EF4-FFF2-40B4-BE49-F238E27FC236}">
                <a16:creationId xmlns:a16="http://schemas.microsoft.com/office/drawing/2014/main" id="{A65CF749-E176-4C0F-B6B1-8C9AC5B471AE}"/>
              </a:ext>
            </a:extLst>
          </p:cNvPr>
          <p:cNvGrpSpPr/>
          <p:nvPr userDrawn="1"/>
        </p:nvGrpSpPr>
        <p:grpSpPr>
          <a:xfrm>
            <a:off x="12295416" y="1897335"/>
            <a:ext cx="2503753" cy="2126025"/>
            <a:chOff x="12295417" y="1897335"/>
            <a:chExt cx="2049924" cy="1740663"/>
          </a:xfrm>
        </p:grpSpPr>
        <p:pic>
          <p:nvPicPr>
            <p:cNvPr id="5" name="Bildobjekt 4">
              <a:extLst>
                <a:ext uri="{FF2B5EF4-FFF2-40B4-BE49-F238E27FC236}">
                  <a16:creationId xmlns:a16="http://schemas.microsoft.com/office/drawing/2014/main" id="{DE24E40D-1307-4CB5-8416-9F247C2F9F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95417" y="1897335"/>
              <a:ext cx="1124441" cy="968317"/>
            </a:xfrm>
            <a:prstGeom prst="rect">
              <a:avLst/>
            </a:prstGeom>
          </p:spPr>
        </p:pic>
        <p:pic>
          <p:nvPicPr>
            <p:cNvPr id="7" name="Bildobjekt 6">
              <a:extLst>
                <a:ext uri="{FF2B5EF4-FFF2-40B4-BE49-F238E27FC236}">
                  <a16:creationId xmlns:a16="http://schemas.microsoft.com/office/drawing/2014/main" id="{2D074425-959C-459F-8001-391CCE5796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419858" y="1897335"/>
              <a:ext cx="925483" cy="1740663"/>
            </a:xfrm>
            <a:prstGeom prst="rect">
              <a:avLst/>
            </a:prstGeom>
          </p:spPr>
        </p:pic>
      </p:grpSp>
      <p:sp>
        <p:nvSpPr>
          <p:cNvPr id="49" name="Rektangel 48">
            <a:extLst>
              <a:ext uri="{FF2B5EF4-FFF2-40B4-BE49-F238E27FC236}">
                <a16:creationId xmlns:a16="http://schemas.microsoft.com/office/drawing/2014/main" id="{F00A4852-B799-4C91-B4DC-B8977D03AB74}"/>
              </a:ext>
            </a:extLst>
          </p:cNvPr>
          <p:cNvSpPr/>
          <p:nvPr userDrawn="1"/>
        </p:nvSpPr>
        <p:spPr>
          <a:xfrm>
            <a:off x="12908137" y="2721778"/>
            <a:ext cx="753688" cy="144087"/>
          </a:xfrm>
          <a:prstGeom prst="rect">
            <a:avLst/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3925B998-0894-4098-BD24-FCF1304C065F}"/>
              </a:ext>
            </a:extLst>
          </p:cNvPr>
          <p:cNvSpPr/>
          <p:nvPr userDrawn="1"/>
        </p:nvSpPr>
        <p:spPr>
          <a:xfrm>
            <a:off x="13772630" y="2344594"/>
            <a:ext cx="392257" cy="110432"/>
          </a:xfrm>
          <a:prstGeom prst="rect">
            <a:avLst/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DB967EB6-39D4-4CFE-B17B-4757CD63573D}"/>
              </a:ext>
            </a:extLst>
          </p:cNvPr>
          <p:cNvSpPr/>
          <p:nvPr userDrawn="1"/>
        </p:nvSpPr>
        <p:spPr>
          <a:xfrm>
            <a:off x="14090442" y="3128761"/>
            <a:ext cx="146489" cy="110432"/>
          </a:xfrm>
          <a:prstGeom prst="rect">
            <a:avLst/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860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42" userDrawn="1">
          <p15:clr>
            <a:srgbClr val="FBAE40"/>
          </p15:clr>
        </p15:guide>
        <p15:guide id="5" orient="horz" pos="4149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41"/>
            <a:ext cx="5378548" cy="284321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773241"/>
            <a:ext cx="5378548" cy="284321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8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6" y="4696835"/>
            <a:ext cx="5384801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3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6189566" y="4696835"/>
            <a:ext cx="5384801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6" name="Platshållare för text 4">
            <a:extLst>
              <a:ext uri="{FF2B5EF4-FFF2-40B4-BE49-F238E27FC236}">
                <a16:creationId xmlns:a16="http://schemas.microsoft.com/office/drawing/2014/main" id="{7C36CC27-F441-4797-ACF0-5B361278AD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51044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908">
          <p15:clr>
            <a:srgbClr val="FBAE40"/>
          </p15:clr>
        </p15:guide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95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, en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4" y="1852613"/>
            <a:ext cx="10944723" cy="165100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/>
          </p:nvPr>
        </p:nvSpPr>
        <p:spPr>
          <a:xfrm>
            <a:off x="625474" y="4118264"/>
            <a:ext cx="10944723" cy="165706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6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637" y="3678238"/>
            <a:ext cx="1097491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0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1" name="Platshållare för text 4">
            <a:extLst>
              <a:ext uri="{FF2B5EF4-FFF2-40B4-BE49-F238E27FC236}">
                <a16:creationId xmlns:a16="http://schemas.microsoft.com/office/drawing/2014/main" id="{AE7D564C-EDB9-48CC-ADD1-BE88F8D191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96584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12">
          <p15:clr>
            <a:srgbClr val="FBAE40"/>
          </p15:clr>
        </p15:guide>
        <p15:guide id="2" orient="horz" pos="231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773237"/>
            <a:ext cx="3508375" cy="4002088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773237"/>
            <a:ext cx="3508375" cy="4002088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773237"/>
            <a:ext cx="3508375" cy="4002088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18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4317113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19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8029327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2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4" name="Platshållare för text 4">
            <a:extLst>
              <a:ext uri="{FF2B5EF4-FFF2-40B4-BE49-F238E27FC236}">
                <a16:creationId xmlns:a16="http://schemas.microsoft.com/office/drawing/2014/main" id="{854C4CF7-D3A2-44DF-B60F-988C738C25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94640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textrur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773239"/>
            <a:ext cx="3508375" cy="305548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773239"/>
            <a:ext cx="3508375" cy="305548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773239"/>
            <a:ext cx="3508375" cy="305548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916034"/>
            <a:ext cx="3508376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4329783" y="4916034"/>
            <a:ext cx="3515308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21"/>
          <p:cNvSpPr>
            <a:spLocks noGrp="1"/>
          </p:cNvSpPr>
          <p:nvPr>
            <p:ph type="body" sz="quarter" idx="21"/>
          </p:nvPr>
        </p:nvSpPr>
        <p:spPr>
          <a:xfrm>
            <a:off x="8054890" y="4916034"/>
            <a:ext cx="3515308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18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4317113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19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8029327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2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20" name="Platshållare för text 4">
            <a:extLst>
              <a:ext uri="{FF2B5EF4-FFF2-40B4-BE49-F238E27FC236}">
                <a16:creationId xmlns:a16="http://schemas.microsoft.com/office/drawing/2014/main" id="{63123F10-0626-482E-93A3-F7F4303226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994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097">
          <p15:clr>
            <a:srgbClr val="FBAE40"/>
          </p15:clr>
        </p15:guide>
        <p15:guide id="7" orient="horz" pos="30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delar, två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6" y="1773238"/>
            <a:ext cx="5383115" cy="398748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38"/>
            <a:ext cx="5378548" cy="1909528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/>
          </p:nvPr>
        </p:nvSpPr>
        <p:spPr>
          <a:xfrm>
            <a:off x="6189566" y="3865797"/>
            <a:ext cx="5378548" cy="1909528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10959561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14811C14-5DDA-45C3-8A82-3C20DC95AF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33970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432">
          <p15:clr>
            <a:srgbClr val="FBAE40"/>
          </p15:clr>
        </p15:guide>
        <p15:guide id="4" orient="horz" pos="231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delar, 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41"/>
            <a:ext cx="5378548" cy="173831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773239"/>
            <a:ext cx="5378548" cy="173037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0"/>
          </p:nvPr>
        </p:nvSpPr>
        <p:spPr>
          <a:xfrm>
            <a:off x="6189566" y="4038602"/>
            <a:ext cx="5378548" cy="173672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/>
          </p:nvPr>
        </p:nvSpPr>
        <p:spPr>
          <a:xfrm>
            <a:off x="625475" y="4038601"/>
            <a:ext cx="5378548" cy="173672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6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637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7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6171460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6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4" name="Platshållare för text 4">
            <a:extLst>
              <a:ext uri="{FF2B5EF4-FFF2-40B4-BE49-F238E27FC236}">
                <a16:creationId xmlns:a16="http://schemas.microsoft.com/office/drawing/2014/main" id="{5F08F6B6-7687-4884-89B1-3C9E6E22A19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9552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212">
          <p15:clr>
            <a:srgbClr val="FBAE40"/>
          </p15:clr>
        </p15:guide>
        <p15:guide id="4" orient="horz" pos="231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(grö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39"/>
            <a:ext cx="5378548" cy="400208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773239"/>
            <a:ext cx="5378548" cy="400208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25475" y="1378414"/>
            <a:ext cx="5384800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24" hasCustomPrompt="1"/>
          </p:nvPr>
        </p:nvSpPr>
        <p:spPr>
          <a:xfrm>
            <a:off x="6186489" y="1378414"/>
            <a:ext cx="5381625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9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FA11716F-FBE2-4FFA-AD10-36DBC8B731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7131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delar, två spalt (grö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773241"/>
            <a:ext cx="5378548" cy="1738311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773239"/>
            <a:ext cx="5378548" cy="173037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0"/>
          </p:nvPr>
        </p:nvSpPr>
        <p:spPr>
          <a:xfrm>
            <a:off x="6189566" y="4038602"/>
            <a:ext cx="5378548" cy="173672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/>
          </p:nvPr>
        </p:nvSpPr>
        <p:spPr>
          <a:xfrm>
            <a:off x="625475" y="4038601"/>
            <a:ext cx="5378548" cy="173672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25475" y="1378414"/>
            <a:ext cx="5384800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5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625475" y="3617352"/>
            <a:ext cx="5384800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24" hasCustomPrompt="1"/>
          </p:nvPr>
        </p:nvSpPr>
        <p:spPr>
          <a:xfrm>
            <a:off x="6186489" y="1378414"/>
            <a:ext cx="5381625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8" name="Platshållare för text 7"/>
          <p:cNvSpPr>
            <a:spLocks noGrp="1"/>
          </p:cNvSpPr>
          <p:nvPr>
            <p:ph type="body" sz="quarter" idx="25" hasCustomPrompt="1"/>
          </p:nvPr>
        </p:nvSpPr>
        <p:spPr>
          <a:xfrm>
            <a:off x="6186489" y="3617352"/>
            <a:ext cx="5381625" cy="34607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för att ändra underrubrik</a:t>
            </a:r>
          </a:p>
        </p:txBody>
      </p:sp>
      <p:sp>
        <p:nvSpPr>
          <p:cNvPr id="19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6" name="Platshållare för text 4">
            <a:extLst>
              <a:ext uri="{FF2B5EF4-FFF2-40B4-BE49-F238E27FC236}">
                <a16:creationId xmlns:a16="http://schemas.microsoft.com/office/drawing/2014/main" id="{70EFA69A-7B51-40E3-A7F9-251E5A2E26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27092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212">
          <p15:clr>
            <a:srgbClr val="FBAE40"/>
          </p15:clr>
        </p15:guide>
        <p15:guide id="4" orient="horz" pos="227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10959561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7" name="Platshållare för text 4">
            <a:extLst>
              <a:ext uri="{FF2B5EF4-FFF2-40B4-BE49-F238E27FC236}">
                <a16:creationId xmlns:a16="http://schemas.microsoft.com/office/drawing/2014/main" id="{E92CCBE7-7057-4733-B29A-1CAE29A45E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52570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5477" y="1852614"/>
            <a:ext cx="10941049" cy="392271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6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D80F9088-2307-4C08-98AE-7A4EA883E2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3216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latshållare för bild 46">
            <a:extLst>
              <a:ext uri="{FF2B5EF4-FFF2-40B4-BE49-F238E27FC236}">
                <a16:creationId xmlns:a16="http://schemas.microsoft.com/office/drawing/2014/main" id="{17125A38-2054-4510-8105-7008446839E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8287" y="265111"/>
            <a:ext cx="11652250" cy="6337228"/>
          </a:xfrm>
          <a:custGeom>
            <a:avLst/>
            <a:gdLst>
              <a:gd name="connsiteX0" fmla="*/ 9553218 w 11652250"/>
              <a:gd name="connsiteY0" fmla="*/ 2475787 h 6337228"/>
              <a:gd name="connsiteX1" fmla="*/ 7806611 w 11652250"/>
              <a:gd name="connsiteY1" fmla="*/ 4222394 h 6337228"/>
              <a:gd name="connsiteX2" fmla="*/ 9553218 w 11652250"/>
              <a:gd name="connsiteY2" fmla="*/ 5969001 h 6337228"/>
              <a:gd name="connsiteX3" fmla="*/ 11299825 w 11652250"/>
              <a:gd name="connsiteY3" fmla="*/ 5969001 h 6337228"/>
              <a:gd name="connsiteX4" fmla="*/ 11299825 w 11652250"/>
              <a:gd name="connsiteY4" fmla="*/ 4222395 h 6337228"/>
              <a:gd name="connsiteX5" fmla="*/ 9553218 w 11652250"/>
              <a:gd name="connsiteY5" fmla="*/ 2475788 h 6337228"/>
              <a:gd name="connsiteX6" fmla="*/ 1691 w 11652250"/>
              <a:gd name="connsiteY6" fmla="*/ 0 h 6337228"/>
              <a:gd name="connsiteX7" fmla="*/ 11652250 w 11652250"/>
              <a:gd name="connsiteY7" fmla="*/ 0 h 6337228"/>
              <a:gd name="connsiteX8" fmla="*/ 11652250 w 11652250"/>
              <a:gd name="connsiteY8" fmla="*/ 6324599 h 6337228"/>
              <a:gd name="connsiteX9" fmla="*/ 11650559 w 11652250"/>
              <a:gd name="connsiteY9" fmla="*/ 6324599 h 6337228"/>
              <a:gd name="connsiteX10" fmla="*/ 11650559 w 11652250"/>
              <a:gd name="connsiteY10" fmla="*/ 6337228 h 6337228"/>
              <a:gd name="connsiteX11" fmla="*/ 0 w 11652250"/>
              <a:gd name="connsiteY11" fmla="*/ 6337228 h 6337228"/>
              <a:gd name="connsiteX12" fmla="*/ 0 w 11652250"/>
              <a:gd name="connsiteY12" fmla="*/ 6112161 h 6337228"/>
              <a:gd name="connsiteX13" fmla="*/ 1691 w 11652250"/>
              <a:gd name="connsiteY13" fmla="*/ 6112161 h 633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652250" h="6337228">
                <a:moveTo>
                  <a:pt x="9553218" y="2475787"/>
                </a:moveTo>
                <a:cubicBezTo>
                  <a:pt x="8588594" y="2475787"/>
                  <a:pt x="7806611" y="3257770"/>
                  <a:pt x="7806611" y="4222394"/>
                </a:cubicBezTo>
                <a:cubicBezTo>
                  <a:pt x="7806611" y="5187018"/>
                  <a:pt x="8588594" y="5969001"/>
                  <a:pt x="9553218" y="5969001"/>
                </a:cubicBezTo>
                <a:lnTo>
                  <a:pt x="11299825" y="5969001"/>
                </a:lnTo>
                <a:lnTo>
                  <a:pt x="11299825" y="4222395"/>
                </a:lnTo>
                <a:cubicBezTo>
                  <a:pt x="11299825" y="3257771"/>
                  <a:pt x="10517842" y="2475788"/>
                  <a:pt x="9553218" y="2475788"/>
                </a:cubicBezTo>
                <a:close/>
                <a:moveTo>
                  <a:pt x="1691" y="0"/>
                </a:moveTo>
                <a:lnTo>
                  <a:pt x="11652250" y="0"/>
                </a:lnTo>
                <a:lnTo>
                  <a:pt x="11652250" y="6324599"/>
                </a:lnTo>
                <a:lnTo>
                  <a:pt x="11650559" y="6324599"/>
                </a:lnTo>
                <a:lnTo>
                  <a:pt x="11650559" y="6337228"/>
                </a:lnTo>
                <a:lnTo>
                  <a:pt x="0" y="6337228"/>
                </a:lnTo>
                <a:lnTo>
                  <a:pt x="0" y="6112161"/>
                </a:lnTo>
                <a:lnTo>
                  <a:pt x="1691" y="611216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6000" bIns="100800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3" name="Rubrik 32">
            <a:extLst>
              <a:ext uri="{FF2B5EF4-FFF2-40B4-BE49-F238E27FC236}">
                <a16:creationId xmlns:a16="http://schemas.microsoft.com/office/drawing/2014/main" id="{D92524F0-0B38-448B-944E-7453CC144C93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 rot="5400000">
            <a:off x="8074898" y="2740898"/>
            <a:ext cx="3493214" cy="3493214"/>
          </a:xfrm>
          <a:custGeom>
            <a:avLst/>
            <a:gdLst>
              <a:gd name="connsiteX0" fmla="*/ 2839932 w 3493214"/>
              <a:gd name="connsiteY0" fmla="*/ 2131295 h 3493214"/>
              <a:gd name="connsiteX1" fmla="*/ 2840628 w 3493214"/>
              <a:gd name="connsiteY1" fmla="*/ 2110512 h 3493214"/>
              <a:gd name="connsiteX2" fmla="*/ 2856216 w 3493214"/>
              <a:gd name="connsiteY2" fmla="*/ 2110512 h 3493214"/>
              <a:gd name="connsiteX3" fmla="*/ 2902673 w 3493214"/>
              <a:gd name="connsiteY3" fmla="*/ 2159697 h 3493214"/>
              <a:gd name="connsiteX4" fmla="*/ 2873898 w 3493214"/>
              <a:gd name="connsiteY4" fmla="*/ 2192598 h 3493214"/>
              <a:gd name="connsiteX5" fmla="*/ 2839932 w 3493214"/>
              <a:gd name="connsiteY5" fmla="*/ 2131295 h 3493214"/>
              <a:gd name="connsiteX6" fmla="*/ 2770942 w 3493214"/>
              <a:gd name="connsiteY6" fmla="*/ 1756818 h 3493214"/>
              <a:gd name="connsiteX7" fmla="*/ 2836441 w 3493214"/>
              <a:gd name="connsiteY7" fmla="*/ 1702468 h 3493214"/>
              <a:gd name="connsiteX8" fmla="*/ 2902004 w 3493214"/>
              <a:gd name="connsiteY8" fmla="*/ 1756818 h 3493214"/>
              <a:gd name="connsiteX9" fmla="*/ 2836441 w 3493214"/>
              <a:gd name="connsiteY9" fmla="*/ 1811554 h 3493214"/>
              <a:gd name="connsiteX10" fmla="*/ 2770942 w 3493214"/>
              <a:gd name="connsiteY10" fmla="*/ 1756818 h 3493214"/>
              <a:gd name="connsiteX11" fmla="*/ 2770316 w 3493214"/>
              <a:gd name="connsiteY11" fmla="*/ 1956720 h 3493214"/>
              <a:gd name="connsiteX12" fmla="*/ 2835780 w 3493214"/>
              <a:gd name="connsiteY12" fmla="*/ 1908222 h 3493214"/>
              <a:gd name="connsiteX13" fmla="*/ 2902673 w 3493214"/>
              <a:gd name="connsiteY13" fmla="*/ 1957063 h 3493214"/>
              <a:gd name="connsiteX14" fmla="*/ 2836818 w 3493214"/>
              <a:gd name="connsiteY14" fmla="*/ 2009019 h 3493214"/>
              <a:gd name="connsiteX15" fmla="*/ 2770316 w 3493214"/>
              <a:gd name="connsiteY15" fmla="*/ 1956720 h 3493214"/>
              <a:gd name="connsiteX16" fmla="*/ 2770225 w 3493214"/>
              <a:gd name="connsiteY16" fmla="*/ 1089072 h 3493214"/>
              <a:gd name="connsiteX17" fmla="*/ 2819960 w 3493214"/>
              <a:gd name="connsiteY17" fmla="*/ 1042422 h 3493214"/>
              <a:gd name="connsiteX18" fmla="*/ 2819960 w 3493214"/>
              <a:gd name="connsiteY18" fmla="*/ 1139406 h 3493214"/>
              <a:gd name="connsiteX19" fmla="*/ 2770225 w 3493214"/>
              <a:gd name="connsiteY19" fmla="*/ 1089072 h 3493214"/>
              <a:gd name="connsiteX20" fmla="*/ 2770225 w 3493214"/>
              <a:gd name="connsiteY20" fmla="*/ 1441539 h 3493214"/>
              <a:gd name="connsiteX21" fmla="*/ 2819960 w 3493214"/>
              <a:gd name="connsiteY21" fmla="*/ 1394884 h 3493214"/>
              <a:gd name="connsiteX22" fmla="*/ 2819960 w 3493214"/>
              <a:gd name="connsiteY22" fmla="*/ 1491869 h 3493214"/>
              <a:gd name="connsiteX23" fmla="*/ 2770225 w 3493214"/>
              <a:gd name="connsiteY23" fmla="*/ 1441539 h 3493214"/>
              <a:gd name="connsiteX24" fmla="*/ 2742154 w 3493214"/>
              <a:gd name="connsiteY24" fmla="*/ 1756818 h 3493214"/>
              <a:gd name="connsiteX25" fmla="*/ 2836441 w 3493214"/>
              <a:gd name="connsiteY25" fmla="*/ 1848689 h 3493214"/>
              <a:gd name="connsiteX26" fmla="*/ 2930792 w 3493214"/>
              <a:gd name="connsiteY26" fmla="*/ 1756818 h 3493214"/>
              <a:gd name="connsiteX27" fmla="*/ 2836441 w 3493214"/>
              <a:gd name="connsiteY27" fmla="*/ 1665337 h 3493214"/>
              <a:gd name="connsiteX28" fmla="*/ 2742154 w 3493214"/>
              <a:gd name="connsiteY28" fmla="*/ 1756818 h 3493214"/>
              <a:gd name="connsiteX29" fmla="*/ 2742051 w 3493214"/>
              <a:gd name="connsiteY29" fmla="*/ 1949797 h 3493214"/>
              <a:gd name="connsiteX30" fmla="*/ 2768201 w 3493214"/>
              <a:gd name="connsiteY30" fmla="*/ 2008462 h 3493214"/>
              <a:gd name="connsiteX31" fmla="*/ 2746199 w 3493214"/>
              <a:gd name="connsiteY31" fmla="*/ 2008462 h 3493214"/>
              <a:gd name="connsiteX32" fmla="*/ 2746199 w 3493214"/>
              <a:gd name="connsiteY32" fmla="*/ 2043525 h 3493214"/>
              <a:gd name="connsiteX33" fmla="*/ 2989788 w 3493214"/>
              <a:gd name="connsiteY33" fmla="*/ 2043525 h 3493214"/>
              <a:gd name="connsiteX34" fmla="*/ 2989788 w 3493214"/>
              <a:gd name="connsiteY34" fmla="*/ 2007076 h 3493214"/>
              <a:gd name="connsiteX35" fmla="*/ 2905702 w 3493214"/>
              <a:gd name="connsiteY35" fmla="*/ 2007076 h 3493214"/>
              <a:gd name="connsiteX36" fmla="*/ 2930942 w 3493214"/>
              <a:gd name="connsiteY36" fmla="*/ 1949441 h 3493214"/>
              <a:gd name="connsiteX37" fmla="*/ 2833361 w 3493214"/>
              <a:gd name="connsiteY37" fmla="*/ 1871644 h 3493214"/>
              <a:gd name="connsiteX38" fmla="*/ 2742051 w 3493214"/>
              <a:gd name="connsiteY38" fmla="*/ 1949797 h 3493214"/>
              <a:gd name="connsiteX39" fmla="*/ 2742051 w 3493214"/>
              <a:gd name="connsiteY39" fmla="*/ 2148955 h 3493214"/>
              <a:gd name="connsiteX40" fmla="*/ 2759558 w 3493214"/>
              <a:gd name="connsiteY40" fmla="*/ 2209160 h 3493214"/>
              <a:gd name="connsiteX41" fmla="*/ 2792304 w 3493214"/>
              <a:gd name="connsiteY41" fmla="*/ 2207119 h 3493214"/>
              <a:gd name="connsiteX42" fmla="*/ 2772263 w 3493214"/>
              <a:gd name="connsiteY42" fmla="*/ 2154150 h 3493214"/>
              <a:gd name="connsiteX43" fmla="*/ 2814345 w 3493214"/>
              <a:gd name="connsiteY43" fmla="*/ 2112562 h 3493214"/>
              <a:gd name="connsiteX44" fmla="*/ 2813753 w 3493214"/>
              <a:gd name="connsiteY44" fmla="*/ 2145146 h 3493214"/>
              <a:gd name="connsiteX45" fmla="*/ 2873898 w 3493214"/>
              <a:gd name="connsiteY45" fmla="*/ 2229180 h 3493214"/>
              <a:gd name="connsiteX46" fmla="*/ 2930942 w 3493214"/>
              <a:gd name="connsiteY46" fmla="*/ 2162464 h 3493214"/>
              <a:gd name="connsiteX47" fmla="*/ 2906795 w 3493214"/>
              <a:gd name="connsiteY47" fmla="*/ 2108994 h 3493214"/>
              <a:gd name="connsiteX48" fmla="*/ 2926802 w 3493214"/>
              <a:gd name="connsiteY48" fmla="*/ 2108994 h 3493214"/>
              <a:gd name="connsiteX49" fmla="*/ 2926802 w 3493214"/>
              <a:gd name="connsiteY49" fmla="*/ 2074342 h 3493214"/>
              <a:gd name="connsiteX50" fmla="*/ 2890207 w 3493214"/>
              <a:gd name="connsiteY50" fmla="*/ 2076015 h 3493214"/>
              <a:gd name="connsiteX51" fmla="*/ 2817086 w 3493214"/>
              <a:gd name="connsiteY51" fmla="*/ 2076015 h 3493214"/>
              <a:gd name="connsiteX52" fmla="*/ 2742051 w 3493214"/>
              <a:gd name="connsiteY52" fmla="*/ 2148955 h 3493214"/>
              <a:gd name="connsiteX53" fmla="*/ 2741879 w 3493214"/>
              <a:gd name="connsiteY53" fmla="*/ 1088197 h 3493214"/>
              <a:gd name="connsiteX54" fmla="*/ 2834098 w 3493214"/>
              <a:gd name="connsiteY54" fmla="*/ 1174800 h 3493214"/>
              <a:gd name="connsiteX55" fmla="*/ 2931044 w 3493214"/>
              <a:gd name="connsiteY55" fmla="*/ 1077811 h 3493214"/>
              <a:gd name="connsiteX56" fmla="*/ 2918781 w 3493214"/>
              <a:gd name="connsiteY56" fmla="*/ 1018653 h 3493214"/>
              <a:gd name="connsiteX57" fmla="*/ 2884021 w 3493214"/>
              <a:gd name="connsiteY57" fmla="*/ 1018653 h 3493214"/>
              <a:gd name="connsiteX58" fmla="*/ 2901798 w 3493214"/>
              <a:gd name="connsiteY58" fmla="*/ 1076340 h 3493214"/>
              <a:gd name="connsiteX59" fmla="*/ 2846929 w 3493214"/>
              <a:gd name="connsiteY59" fmla="*/ 1138064 h 3493214"/>
              <a:gd name="connsiteX60" fmla="*/ 2846929 w 3493214"/>
              <a:gd name="connsiteY60" fmla="*/ 1006058 h 3493214"/>
              <a:gd name="connsiteX61" fmla="*/ 2741879 w 3493214"/>
              <a:gd name="connsiteY61" fmla="*/ 1088197 h 3493214"/>
              <a:gd name="connsiteX62" fmla="*/ 2741879 w 3493214"/>
              <a:gd name="connsiteY62" fmla="*/ 1440659 h 3493214"/>
              <a:gd name="connsiteX63" fmla="*/ 2834098 w 3493214"/>
              <a:gd name="connsiteY63" fmla="*/ 1527267 h 3493214"/>
              <a:gd name="connsiteX64" fmla="*/ 2931044 w 3493214"/>
              <a:gd name="connsiteY64" fmla="*/ 1430274 h 3493214"/>
              <a:gd name="connsiteX65" fmla="*/ 2918781 w 3493214"/>
              <a:gd name="connsiteY65" fmla="*/ 1371116 h 3493214"/>
              <a:gd name="connsiteX66" fmla="*/ 2884021 w 3493214"/>
              <a:gd name="connsiteY66" fmla="*/ 1371116 h 3493214"/>
              <a:gd name="connsiteX67" fmla="*/ 2901798 w 3493214"/>
              <a:gd name="connsiteY67" fmla="*/ 1428803 h 3493214"/>
              <a:gd name="connsiteX68" fmla="*/ 2846929 w 3493214"/>
              <a:gd name="connsiteY68" fmla="*/ 1490526 h 3493214"/>
              <a:gd name="connsiteX69" fmla="*/ 2846929 w 3493214"/>
              <a:gd name="connsiteY69" fmla="*/ 1358521 h 3493214"/>
              <a:gd name="connsiteX70" fmla="*/ 2741879 w 3493214"/>
              <a:gd name="connsiteY70" fmla="*/ 1440659 h 3493214"/>
              <a:gd name="connsiteX71" fmla="*/ 2699849 w 3493214"/>
              <a:gd name="connsiteY71" fmla="*/ 928392 h 3493214"/>
              <a:gd name="connsiteX72" fmla="*/ 2713447 w 3493214"/>
              <a:gd name="connsiteY72" fmla="*/ 964845 h 3493214"/>
              <a:gd name="connsiteX73" fmla="*/ 2746289 w 3493214"/>
              <a:gd name="connsiteY73" fmla="*/ 964845 h 3493214"/>
              <a:gd name="connsiteX74" fmla="*/ 2746289 w 3493214"/>
              <a:gd name="connsiteY74" fmla="*/ 993448 h 3493214"/>
              <a:gd name="connsiteX75" fmla="*/ 2776510 w 3493214"/>
              <a:gd name="connsiteY75" fmla="*/ 993448 h 3493214"/>
              <a:gd name="connsiteX76" fmla="*/ 2776510 w 3493214"/>
              <a:gd name="connsiteY76" fmla="*/ 964845 h 3493214"/>
              <a:gd name="connsiteX77" fmla="*/ 2877802 w 3493214"/>
              <a:gd name="connsiteY77" fmla="*/ 964845 h 3493214"/>
              <a:gd name="connsiteX78" fmla="*/ 2931036 w 3493214"/>
              <a:gd name="connsiteY78" fmla="*/ 908513 h 3493214"/>
              <a:gd name="connsiteX79" fmla="*/ 2925614 w 3493214"/>
              <a:gd name="connsiteY79" fmla="*/ 878868 h 3493214"/>
              <a:gd name="connsiteX80" fmla="*/ 2892970 w 3493214"/>
              <a:gd name="connsiteY80" fmla="*/ 878868 h 3493214"/>
              <a:gd name="connsiteX81" fmla="*/ 2900807 w 3493214"/>
              <a:gd name="connsiteY81" fmla="*/ 902975 h 3493214"/>
              <a:gd name="connsiteX82" fmla="*/ 2871221 w 3493214"/>
              <a:gd name="connsiteY82" fmla="*/ 928392 h 3493214"/>
              <a:gd name="connsiteX83" fmla="*/ 2776510 w 3493214"/>
              <a:gd name="connsiteY83" fmla="*/ 928392 h 3493214"/>
              <a:gd name="connsiteX84" fmla="*/ 2776510 w 3493214"/>
              <a:gd name="connsiteY84" fmla="*/ 887867 h 3493214"/>
              <a:gd name="connsiteX85" fmla="*/ 2746289 w 3493214"/>
              <a:gd name="connsiteY85" fmla="*/ 887867 h 3493214"/>
              <a:gd name="connsiteX86" fmla="*/ 2746289 w 3493214"/>
              <a:gd name="connsiteY86" fmla="*/ 928392 h 3493214"/>
              <a:gd name="connsiteX87" fmla="*/ 2699849 w 3493214"/>
              <a:gd name="connsiteY87" fmla="*/ 1590411 h 3493214"/>
              <a:gd name="connsiteX88" fmla="*/ 2713447 w 3493214"/>
              <a:gd name="connsiteY88" fmla="*/ 1626860 h 3493214"/>
              <a:gd name="connsiteX89" fmla="*/ 2746293 w 3493214"/>
              <a:gd name="connsiteY89" fmla="*/ 1626860 h 3493214"/>
              <a:gd name="connsiteX90" fmla="*/ 2746293 w 3493214"/>
              <a:gd name="connsiteY90" fmla="*/ 1655467 h 3493214"/>
              <a:gd name="connsiteX91" fmla="*/ 2776510 w 3493214"/>
              <a:gd name="connsiteY91" fmla="*/ 1655467 h 3493214"/>
              <a:gd name="connsiteX92" fmla="*/ 2776510 w 3493214"/>
              <a:gd name="connsiteY92" fmla="*/ 1626860 h 3493214"/>
              <a:gd name="connsiteX93" fmla="*/ 2877806 w 3493214"/>
              <a:gd name="connsiteY93" fmla="*/ 1626860 h 3493214"/>
              <a:gd name="connsiteX94" fmla="*/ 2931036 w 3493214"/>
              <a:gd name="connsiteY94" fmla="*/ 1570532 h 3493214"/>
              <a:gd name="connsiteX95" fmla="*/ 2925614 w 3493214"/>
              <a:gd name="connsiteY95" fmla="*/ 1540887 h 3493214"/>
              <a:gd name="connsiteX96" fmla="*/ 2892970 w 3493214"/>
              <a:gd name="connsiteY96" fmla="*/ 1540887 h 3493214"/>
              <a:gd name="connsiteX97" fmla="*/ 2900807 w 3493214"/>
              <a:gd name="connsiteY97" fmla="*/ 1564994 h 3493214"/>
              <a:gd name="connsiteX98" fmla="*/ 2871221 w 3493214"/>
              <a:gd name="connsiteY98" fmla="*/ 1590411 h 3493214"/>
              <a:gd name="connsiteX99" fmla="*/ 2776510 w 3493214"/>
              <a:gd name="connsiteY99" fmla="*/ 1590411 h 3493214"/>
              <a:gd name="connsiteX100" fmla="*/ 2776510 w 3493214"/>
              <a:gd name="connsiteY100" fmla="*/ 1549882 h 3493214"/>
              <a:gd name="connsiteX101" fmla="*/ 2746293 w 3493214"/>
              <a:gd name="connsiteY101" fmla="*/ 1549882 h 3493214"/>
              <a:gd name="connsiteX102" fmla="*/ 2746293 w 3493214"/>
              <a:gd name="connsiteY102" fmla="*/ 1590411 h 3493214"/>
              <a:gd name="connsiteX103" fmla="*/ 2679984 w 3493214"/>
              <a:gd name="connsiteY103" fmla="*/ 1329219 h 3493214"/>
              <a:gd name="connsiteX104" fmla="*/ 2926802 w 3493214"/>
              <a:gd name="connsiteY104" fmla="*/ 1329219 h 3493214"/>
              <a:gd name="connsiteX105" fmla="*/ 2926802 w 3493214"/>
              <a:gd name="connsiteY105" fmla="*/ 1292770 h 3493214"/>
              <a:gd name="connsiteX106" fmla="*/ 2839255 w 3493214"/>
              <a:gd name="connsiteY106" fmla="*/ 1292770 h 3493214"/>
              <a:gd name="connsiteX107" fmla="*/ 2926802 w 3493214"/>
              <a:gd name="connsiteY107" fmla="*/ 1216624 h 3493214"/>
              <a:gd name="connsiteX108" fmla="*/ 2926802 w 3493214"/>
              <a:gd name="connsiteY108" fmla="*/ 1167654 h 3493214"/>
              <a:gd name="connsiteX109" fmla="*/ 2826506 w 3493214"/>
              <a:gd name="connsiteY109" fmla="*/ 1258731 h 3493214"/>
              <a:gd name="connsiteX110" fmla="*/ 2746203 w 3493214"/>
              <a:gd name="connsiteY110" fmla="*/ 1177674 h 3493214"/>
              <a:gd name="connsiteX111" fmla="*/ 2746203 w 3493214"/>
              <a:gd name="connsiteY111" fmla="*/ 1224526 h 3493214"/>
              <a:gd name="connsiteX112" fmla="*/ 2815126 w 3493214"/>
              <a:gd name="connsiteY112" fmla="*/ 1292770 h 3493214"/>
              <a:gd name="connsiteX113" fmla="*/ 2679984 w 3493214"/>
              <a:gd name="connsiteY113" fmla="*/ 1292770 h 3493214"/>
              <a:gd name="connsiteX114" fmla="*/ 2671215 w 3493214"/>
              <a:gd name="connsiteY114" fmla="*/ 2446806 h 3493214"/>
              <a:gd name="connsiteX115" fmla="*/ 2834436 w 3493214"/>
              <a:gd name="connsiteY115" fmla="*/ 2614346 h 3493214"/>
              <a:gd name="connsiteX116" fmla="*/ 2997654 w 3493214"/>
              <a:gd name="connsiteY116" fmla="*/ 2446806 h 3493214"/>
              <a:gd name="connsiteX117" fmla="*/ 2997654 w 3493214"/>
              <a:gd name="connsiteY117" fmla="*/ 2285314 h 3493214"/>
              <a:gd name="connsiteX118" fmla="*/ 2671215 w 3493214"/>
              <a:gd name="connsiteY118" fmla="*/ 2285314 h 3493214"/>
              <a:gd name="connsiteX119" fmla="*/ 0 w 3493214"/>
              <a:gd name="connsiteY119" fmla="*/ 1746607 h 3493214"/>
              <a:gd name="connsiteX120" fmla="*/ 1 w 3493214"/>
              <a:gd name="connsiteY120" fmla="*/ 1746607 h 3493214"/>
              <a:gd name="connsiteX121" fmla="*/ 1746608 w 3493214"/>
              <a:gd name="connsiteY121" fmla="*/ 0 h 3493214"/>
              <a:gd name="connsiteX122" fmla="*/ 3493214 w 3493214"/>
              <a:gd name="connsiteY122" fmla="*/ 0 h 3493214"/>
              <a:gd name="connsiteX123" fmla="*/ 3493214 w 3493214"/>
              <a:gd name="connsiteY123" fmla="*/ 1746607 h 3493214"/>
              <a:gd name="connsiteX124" fmla="*/ 1746607 w 3493214"/>
              <a:gd name="connsiteY124" fmla="*/ 3493214 h 3493214"/>
              <a:gd name="connsiteX125" fmla="*/ 0 w 3493214"/>
              <a:gd name="connsiteY125" fmla="*/ 1746607 h 3493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3493214" h="3493214">
                <a:moveTo>
                  <a:pt x="2839932" y="2131295"/>
                </a:moveTo>
                <a:cubicBezTo>
                  <a:pt x="2839932" y="2124363"/>
                  <a:pt x="2840628" y="2117440"/>
                  <a:pt x="2840628" y="2110512"/>
                </a:cubicBezTo>
                <a:lnTo>
                  <a:pt x="2856216" y="2110512"/>
                </a:lnTo>
                <a:cubicBezTo>
                  <a:pt x="2882585" y="2110512"/>
                  <a:pt x="2902673" y="2127477"/>
                  <a:pt x="2902673" y="2159697"/>
                </a:cubicBezTo>
                <a:cubicBezTo>
                  <a:pt x="2902673" y="2174590"/>
                  <a:pt x="2892635" y="2192598"/>
                  <a:pt x="2873898" y="2192598"/>
                </a:cubicBezTo>
                <a:cubicBezTo>
                  <a:pt x="2842704" y="2192598"/>
                  <a:pt x="2839932" y="2148955"/>
                  <a:pt x="2839932" y="2131295"/>
                </a:cubicBezTo>
                <a:close/>
                <a:moveTo>
                  <a:pt x="2770942" y="1756818"/>
                </a:moveTo>
                <a:cubicBezTo>
                  <a:pt x="2770942" y="1721518"/>
                  <a:pt x="2804698" y="1702468"/>
                  <a:pt x="2836441" y="1702468"/>
                </a:cubicBezTo>
                <a:cubicBezTo>
                  <a:pt x="2868017" y="1702468"/>
                  <a:pt x="2902004" y="1719215"/>
                  <a:pt x="2902004" y="1756818"/>
                </a:cubicBezTo>
                <a:cubicBezTo>
                  <a:pt x="2902004" y="1794421"/>
                  <a:pt x="2868017" y="1811554"/>
                  <a:pt x="2836441" y="1811554"/>
                </a:cubicBezTo>
                <a:cubicBezTo>
                  <a:pt x="2804698" y="1811554"/>
                  <a:pt x="2770942" y="1792370"/>
                  <a:pt x="2770942" y="1756818"/>
                </a:cubicBezTo>
                <a:close/>
                <a:moveTo>
                  <a:pt x="2770316" y="1956720"/>
                </a:moveTo>
                <a:cubicBezTo>
                  <a:pt x="2770316" y="1921387"/>
                  <a:pt x="2803912" y="1907535"/>
                  <a:pt x="2835780" y="1908222"/>
                </a:cubicBezTo>
                <a:cubicBezTo>
                  <a:pt x="2863492" y="1907535"/>
                  <a:pt x="2902673" y="1922086"/>
                  <a:pt x="2902673" y="1957063"/>
                </a:cubicBezTo>
                <a:cubicBezTo>
                  <a:pt x="2902673" y="1993778"/>
                  <a:pt x="2866267" y="2009019"/>
                  <a:pt x="2836818" y="2009019"/>
                </a:cubicBezTo>
                <a:cubicBezTo>
                  <a:pt x="2803912" y="2009019"/>
                  <a:pt x="2770316" y="1992049"/>
                  <a:pt x="2770316" y="1956720"/>
                </a:cubicBezTo>
                <a:close/>
                <a:moveTo>
                  <a:pt x="2770225" y="1089072"/>
                </a:moveTo>
                <a:cubicBezTo>
                  <a:pt x="2770225" y="1059323"/>
                  <a:pt x="2792780" y="1042422"/>
                  <a:pt x="2819960" y="1042422"/>
                </a:cubicBezTo>
                <a:lnTo>
                  <a:pt x="2819960" y="1139406"/>
                </a:lnTo>
                <a:cubicBezTo>
                  <a:pt x="2796958" y="1136832"/>
                  <a:pt x="2770225" y="1122883"/>
                  <a:pt x="2770225" y="1089072"/>
                </a:cubicBezTo>
                <a:close/>
                <a:moveTo>
                  <a:pt x="2770225" y="1441539"/>
                </a:moveTo>
                <a:cubicBezTo>
                  <a:pt x="2770225" y="1411785"/>
                  <a:pt x="2792780" y="1394884"/>
                  <a:pt x="2819960" y="1394884"/>
                </a:cubicBezTo>
                <a:lnTo>
                  <a:pt x="2819960" y="1491869"/>
                </a:lnTo>
                <a:cubicBezTo>
                  <a:pt x="2796958" y="1489295"/>
                  <a:pt x="2770225" y="1475350"/>
                  <a:pt x="2770225" y="1441539"/>
                </a:cubicBezTo>
                <a:close/>
                <a:moveTo>
                  <a:pt x="2742154" y="1756818"/>
                </a:moveTo>
                <a:cubicBezTo>
                  <a:pt x="2742154" y="1810910"/>
                  <a:pt x="2780928" y="1848689"/>
                  <a:pt x="2836441" y="1848689"/>
                </a:cubicBezTo>
                <a:cubicBezTo>
                  <a:pt x="2890228" y="1848689"/>
                  <a:pt x="2930792" y="1809186"/>
                  <a:pt x="2930792" y="1756818"/>
                </a:cubicBezTo>
                <a:cubicBezTo>
                  <a:pt x="2930792" y="1704664"/>
                  <a:pt x="2890228" y="1665337"/>
                  <a:pt x="2836441" y="1665337"/>
                </a:cubicBezTo>
                <a:cubicBezTo>
                  <a:pt x="2780928" y="1665337"/>
                  <a:pt x="2742154" y="1702962"/>
                  <a:pt x="2742154" y="1756818"/>
                </a:cubicBezTo>
                <a:close/>
                <a:moveTo>
                  <a:pt x="2742051" y="1949797"/>
                </a:moveTo>
                <a:cubicBezTo>
                  <a:pt x="2742051" y="1977941"/>
                  <a:pt x="2754942" y="1997914"/>
                  <a:pt x="2768201" y="2008462"/>
                </a:cubicBezTo>
                <a:lnTo>
                  <a:pt x="2746199" y="2008462"/>
                </a:lnTo>
                <a:lnTo>
                  <a:pt x="2746199" y="2043525"/>
                </a:lnTo>
                <a:lnTo>
                  <a:pt x="2989788" y="2043525"/>
                </a:lnTo>
                <a:lnTo>
                  <a:pt x="2989788" y="2007076"/>
                </a:lnTo>
                <a:lnTo>
                  <a:pt x="2905702" y="2007076"/>
                </a:lnTo>
                <a:cubicBezTo>
                  <a:pt x="2922384" y="1994808"/>
                  <a:pt x="2930942" y="1975513"/>
                  <a:pt x="2930942" y="1949441"/>
                </a:cubicBezTo>
                <a:cubicBezTo>
                  <a:pt x="2930942" y="1892024"/>
                  <a:pt x="2878372" y="1871644"/>
                  <a:pt x="2833361" y="1871644"/>
                </a:cubicBezTo>
                <a:cubicBezTo>
                  <a:pt x="2791237" y="1871644"/>
                  <a:pt x="2742051" y="1892118"/>
                  <a:pt x="2742051" y="1949797"/>
                </a:cubicBezTo>
                <a:close/>
                <a:moveTo>
                  <a:pt x="2742051" y="2148955"/>
                </a:moveTo>
                <a:cubicBezTo>
                  <a:pt x="2742051" y="2170562"/>
                  <a:pt x="2748344" y="2190342"/>
                  <a:pt x="2759558" y="2209160"/>
                </a:cubicBezTo>
                <a:lnTo>
                  <a:pt x="2792304" y="2207119"/>
                </a:lnTo>
                <a:cubicBezTo>
                  <a:pt x="2780225" y="2193623"/>
                  <a:pt x="2772263" y="2174444"/>
                  <a:pt x="2772263" y="2154150"/>
                </a:cubicBezTo>
                <a:cubicBezTo>
                  <a:pt x="2772263" y="2125230"/>
                  <a:pt x="2784583" y="2113129"/>
                  <a:pt x="2814345" y="2112562"/>
                </a:cubicBezTo>
                <a:cubicBezTo>
                  <a:pt x="2813779" y="2124282"/>
                  <a:pt x="2813753" y="2133204"/>
                  <a:pt x="2813753" y="2145146"/>
                </a:cubicBezTo>
                <a:cubicBezTo>
                  <a:pt x="2813753" y="2176353"/>
                  <a:pt x="2826416" y="2229180"/>
                  <a:pt x="2873898" y="2229180"/>
                </a:cubicBezTo>
                <a:cubicBezTo>
                  <a:pt x="2910690" y="2229180"/>
                  <a:pt x="2930942" y="2205484"/>
                  <a:pt x="2930942" y="2162464"/>
                </a:cubicBezTo>
                <a:cubicBezTo>
                  <a:pt x="2930942" y="2133676"/>
                  <a:pt x="2916125" y="2116779"/>
                  <a:pt x="2906795" y="2108994"/>
                </a:cubicBezTo>
                <a:lnTo>
                  <a:pt x="2926802" y="2108994"/>
                </a:lnTo>
                <a:lnTo>
                  <a:pt x="2926802" y="2074342"/>
                </a:lnTo>
                <a:cubicBezTo>
                  <a:pt x="2916112" y="2075800"/>
                  <a:pt x="2906877" y="2076015"/>
                  <a:pt x="2890207" y="2076015"/>
                </a:cubicBezTo>
                <a:lnTo>
                  <a:pt x="2817086" y="2076015"/>
                </a:lnTo>
                <a:cubicBezTo>
                  <a:pt x="2765885" y="2076015"/>
                  <a:pt x="2742051" y="2099192"/>
                  <a:pt x="2742051" y="2148955"/>
                </a:cubicBezTo>
                <a:close/>
                <a:moveTo>
                  <a:pt x="2741879" y="1088197"/>
                </a:moveTo>
                <a:cubicBezTo>
                  <a:pt x="2741879" y="1141096"/>
                  <a:pt x="2781468" y="1174800"/>
                  <a:pt x="2834098" y="1174800"/>
                </a:cubicBezTo>
                <a:cubicBezTo>
                  <a:pt x="2891940" y="1174800"/>
                  <a:pt x="2931044" y="1140745"/>
                  <a:pt x="2931044" y="1077811"/>
                </a:cubicBezTo>
                <a:cubicBezTo>
                  <a:pt x="2931044" y="1046947"/>
                  <a:pt x="2923310" y="1031886"/>
                  <a:pt x="2918781" y="1018653"/>
                </a:cubicBezTo>
                <a:lnTo>
                  <a:pt x="2884021" y="1018653"/>
                </a:lnTo>
                <a:cubicBezTo>
                  <a:pt x="2890649" y="1027099"/>
                  <a:pt x="2901798" y="1053562"/>
                  <a:pt x="2901798" y="1076340"/>
                </a:cubicBezTo>
                <a:cubicBezTo>
                  <a:pt x="2901798" y="1109040"/>
                  <a:pt x="2882121" y="1138064"/>
                  <a:pt x="2846929" y="1138064"/>
                </a:cubicBezTo>
                <a:lnTo>
                  <a:pt x="2846929" y="1006058"/>
                </a:lnTo>
                <a:cubicBezTo>
                  <a:pt x="2789482" y="1004763"/>
                  <a:pt x="2741879" y="1025941"/>
                  <a:pt x="2741879" y="1088197"/>
                </a:cubicBezTo>
                <a:close/>
                <a:moveTo>
                  <a:pt x="2741879" y="1440659"/>
                </a:moveTo>
                <a:cubicBezTo>
                  <a:pt x="2741879" y="1493559"/>
                  <a:pt x="2781468" y="1527267"/>
                  <a:pt x="2834098" y="1527267"/>
                </a:cubicBezTo>
                <a:cubicBezTo>
                  <a:pt x="2891940" y="1527267"/>
                  <a:pt x="2931044" y="1493212"/>
                  <a:pt x="2931044" y="1430274"/>
                </a:cubicBezTo>
                <a:cubicBezTo>
                  <a:pt x="2931044" y="1399410"/>
                  <a:pt x="2923310" y="1384349"/>
                  <a:pt x="2918781" y="1371116"/>
                </a:cubicBezTo>
                <a:lnTo>
                  <a:pt x="2884021" y="1371116"/>
                </a:lnTo>
                <a:cubicBezTo>
                  <a:pt x="2890649" y="1379562"/>
                  <a:pt x="2901798" y="1406024"/>
                  <a:pt x="2901798" y="1428803"/>
                </a:cubicBezTo>
                <a:cubicBezTo>
                  <a:pt x="2901798" y="1461502"/>
                  <a:pt x="2882121" y="1490526"/>
                  <a:pt x="2846929" y="1490526"/>
                </a:cubicBezTo>
                <a:lnTo>
                  <a:pt x="2846929" y="1358521"/>
                </a:lnTo>
                <a:cubicBezTo>
                  <a:pt x="2789482" y="1357230"/>
                  <a:pt x="2741879" y="1378404"/>
                  <a:pt x="2741879" y="1440659"/>
                </a:cubicBezTo>
                <a:close/>
                <a:moveTo>
                  <a:pt x="2699849" y="928392"/>
                </a:moveTo>
                <a:lnTo>
                  <a:pt x="2713447" y="964845"/>
                </a:lnTo>
                <a:lnTo>
                  <a:pt x="2746289" y="964845"/>
                </a:lnTo>
                <a:lnTo>
                  <a:pt x="2746289" y="993448"/>
                </a:lnTo>
                <a:lnTo>
                  <a:pt x="2776510" y="993448"/>
                </a:lnTo>
                <a:lnTo>
                  <a:pt x="2776510" y="964845"/>
                </a:lnTo>
                <a:lnTo>
                  <a:pt x="2877802" y="964845"/>
                </a:lnTo>
                <a:cubicBezTo>
                  <a:pt x="2912621" y="964845"/>
                  <a:pt x="2931036" y="945365"/>
                  <a:pt x="2931036" y="908513"/>
                </a:cubicBezTo>
                <a:cubicBezTo>
                  <a:pt x="2931036" y="897489"/>
                  <a:pt x="2927840" y="885560"/>
                  <a:pt x="2925614" y="878868"/>
                </a:cubicBezTo>
                <a:lnTo>
                  <a:pt x="2892970" y="878868"/>
                </a:lnTo>
                <a:cubicBezTo>
                  <a:pt x="2899220" y="887760"/>
                  <a:pt x="2900807" y="895087"/>
                  <a:pt x="2900807" y="902975"/>
                </a:cubicBezTo>
                <a:cubicBezTo>
                  <a:pt x="2900807" y="915634"/>
                  <a:pt x="2891666" y="928409"/>
                  <a:pt x="2871221" y="928392"/>
                </a:cubicBezTo>
                <a:lnTo>
                  <a:pt x="2776510" y="928392"/>
                </a:lnTo>
                <a:lnTo>
                  <a:pt x="2776510" y="887867"/>
                </a:lnTo>
                <a:lnTo>
                  <a:pt x="2746289" y="887867"/>
                </a:lnTo>
                <a:lnTo>
                  <a:pt x="2746289" y="928392"/>
                </a:lnTo>
                <a:close/>
                <a:moveTo>
                  <a:pt x="2699849" y="1590411"/>
                </a:moveTo>
                <a:lnTo>
                  <a:pt x="2713447" y="1626860"/>
                </a:lnTo>
                <a:lnTo>
                  <a:pt x="2746293" y="1626860"/>
                </a:lnTo>
                <a:lnTo>
                  <a:pt x="2746293" y="1655467"/>
                </a:lnTo>
                <a:lnTo>
                  <a:pt x="2776510" y="1655467"/>
                </a:lnTo>
                <a:lnTo>
                  <a:pt x="2776510" y="1626860"/>
                </a:lnTo>
                <a:lnTo>
                  <a:pt x="2877806" y="1626860"/>
                </a:lnTo>
                <a:cubicBezTo>
                  <a:pt x="2912621" y="1626860"/>
                  <a:pt x="2931036" y="1607384"/>
                  <a:pt x="2931036" y="1570532"/>
                </a:cubicBezTo>
                <a:cubicBezTo>
                  <a:pt x="2931036" y="1559508"/>
                  <a:pt x="2927840" y="1547579"/>
                  <a:pt x="2925614" y="1540887"/>
                </a:cubicBezTo>
                <a:lnTo>
                  <a:pt x="2892970" y="1540887"/>
                </a:lnTo>
                <a:cubicBezTo>
                  <a:pt x="2899224" y="1549779"/>
                  <a:pt x="2900807" y="1557102"/>
                  <a:pt x="2900807" y="1564994"/>
                </a:cubicBezTo>
                <a:cubicBezTo>
                  <a:pt x="2900807" y="1577653"/>
                  <a:pt x="2891666" y="1590428"/>
                  <a:pt x="2871221" y="1590411"/>
                </a:cubicBezTo>
                <a:lnTo>
                  <a:pt x="2776510" y="1590411"/>
                </a:lnTo>
                <a:lnTo>
                  <a:pt x="2776510" y="1549882"/>
                </a:lnTo>
                <a:lnTo>
                  <a:pt x="2746293" y="1549882"/>
                </a:lnTo>
                <a:lnTo>
                  <a:pt x="2746293" y="1590411"/>
                </a:lnTo>
                <a:close/>
                <a:moveTo>
                  <a:pt x="2679984" y="1329219"/>
                </a:moveTo>
                <a:lnTo>
                  <a:pt x="2926802" y="1329219"/>
                </a:lnTo>
                <a:lnTo>
                  <a:pt x="2926802" y="1292770"/>
                </a:lnTo>
                <a:lnTo>
                  <a:pt x="2839255" y="1292770"/>
                </a:lnTo>
                <a:cubicBezTo>
                  <a:pt x="2846440" y="1286524"/>
                  <a:pt x="2926802" y="1216624"/>
                  <a:pt x="2926802" y="1216624"/>
                </a:cubicBezTo>
                <a:lnTo>
                  <a:pt x="2926802" y="1167654"/>
                </a:lnTo>
                <a:cubicBezTo>
                  <a:pt x="2926802" y="1167654"/>
                  <a:pt x="2829247" y="1256153"/>
                  <a:pt x="2826506" y="1258731"/>
                </a:cubicBezTo>
                <a:cubicBezTo>
                  <a:pt x="2823932" y="1256020"/>
                  <a:pt x="2746203" y="1177674"/>
                  <a:pt x="2746203" y="1177674"/>
                </a:cubicBezTo>
                <a:lnTo>
                  <a:pt x="2746203" y="1224526"/>
                </a:lnTo>
                <a:cubicBezTo>
                  <a:pt x="2746203" y="1224526"/>
                  <a:pt x="2809013" y="1286730"/>
                  <a:pt x="2815126" y="1292770"/>
                </a:cubicBezTo>
                <a:lnTo>
                  <a:pt x="2679984" y="1292770"/>
                </a:lnTo>
                <a:close/>
                <a:moveTo>
                  <a:pt x="2671215" y="2446806"/>
                </a:moveTo>
                <a:cubicBezTo>
                  <a:pt x="2671215" y="2536948"/>
                  <a:pt x="2744289" y="2614346"/>
                  <a:pt x="2834436" y="2614346"/>
                </a:cubicBezTo>
                <a:cubicBezTo>
                  <a:pt x="2924580" y="2614346"/>
                  <a:pt x="2997654" y="2536948"/>
                  <a:pt x="2997654" y="2446806"/>
                </a:cubicBezTo>
                <a:lnTo>
                  <a:pt x="2997654" y="2285314"/>
                </a:lnTo>
                <a:lnTo>
                  <a:pt x="2671215" y="2285314"/>
                </a:lnTo>
                <a:close/>
                <a:moveTo>
                  <a:pt x="0" y="1746607"/>
                </a:moveTo>
                <a:lnTo>
                  <a:pt x="1" y="1746607"/>
                </a:lnTo>
                <a:cubicBezTo>
                  <a:pt x="1" y="781983"/>
                  <a:pt x="781984" y="0"/>
                  <a:pt x="1746608" y="0"/>
                </a:cubicBezTo>
                <a:lnTo>
                  <a:pt x="3493214" y="0"/>
                </a:lnTo>
                <a:lnTo>
                  <a:pt x="3493214" y="1746607"/>
                </a:lnTo>
                <a:cubicBezTo>
                  <a:pt x="3493214" y="2711231"/>
                  <a:pt x="2711231" y="3493214"/>
                  <a:pt x="1746607" y="3493214"/>
                </a:cubicBezTo>
                <a:cubicBezTo>
                  <a:pt x="781983" y="3493214"/>
                  <a:pt x="0" y="2711231"/>
                  <a:pt x="0" y="174660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vert="vert270" wrap="square" lIns="0" tIns="72000" rIns="1584000" bIns="72000" anchor="b">
            <a:no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5" name="Platshållare för text 11">
            <a:extLst>
              <a:ext uri="{FF2B5EF4-FFF2-40B4-BE49-F238E27FC236}">
                <a16:creationId xmlns:a16="http://schemas.microsoft.com/office/drawing/2014/main" id="{582FE7D8-FC0C-460E-B5F3-BB85F47A3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74900" y="4766143"/>
            <a:ext cx="3493213" cy="502809"/>
          </a:xfrm>
        </p:spPr>
        <p:txBody>
          <a:bodyPr lIns="108000" tIns="0" rIns="108000" bIns="0"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4" name="Grupp 33">
            <a:extLst>
              <a:ext uri="{FF2B5EF4-FFF2-40B4-BE49-F238E27FC236}">
                <a16:creationId xmlns:a16="http://schemas.microsoft.com/office/drawing/2014/main" id="{2F75A653-6D50-4B31-A788-DD68AA9DEC67}"/>
              </a:ext>
            </a:extLst>
          </p:cNvPr>
          <p:cNvGrpSpPr/>
          <p:nvPr userDrawn="1"/>
        </p:nvGrpSpPr>
        <p:grpSpPr>
          <a:xfrm>
            <a:off x="8953766" y="5412114"/>
            <a:ext cx="1735478" cy="326438"/>
            <a:chOff x="9835686" y="6074987"/>
            <a:chExt cx="1735478" cy="326438"/>
          </a:xfrm>
        </p:grpSpPr>
        <p:sp>
          <p:nvSpPr>
            <p:cNvPr id="35" name="Frihandsfigur: Form 34">
              <a:extLst>
                <a:ext uri="{FF2B5EF4-FFF2-40B4-BE49-F238E27FC236}">
                  <a16:creationId xmlns:a16="http://schemas.microsoft.com/office/drawing/2014/main" id="{6FFD28FE-FE7E-4AA2-8EB1-EDCA097A0C2F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36" name="Frihandsfigur: Form 35">
              <a:extLst>
                <a:ext uri="{FF2B5EF4-FFF2-40B4-BE49-F238E27FC236}">
                  <a16:creationId xmlns:a16="http://schemas.microsoft.com/office/drawing/2014/main" id="{DF0C8F5E-575E-48CF-94F2-BB06B60CE04B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7" name="Frihandsfigur: Form 36">
              <a:extLst>
                <a:ext uri="{FF2B5EF4-FFF2-40B4-BE49-F238E27FC236}">
                  <a16:creationId xmlns:a16="http://schemas.microsoft.com/office/drawing/2014/main" id="{AFD17F97-EA9B-4D4E-A52D-5474442D27BD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8" name="Frihandsfigur: Form 37">
              <a:extLst>
                <a:ext uri="{FF2B5EF4-FFF2-40B4-BE49-F238E27FC236}">
                  <a16:creationId xmlns:a16="http://schemas.microsoft.com/office/drawing/2014/main" id="{CCC07AF9-B8B3-4B4F-934C-F57CD0071E46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9" name="Frihandsfigur: Form 38">
              <a:extLst>
                <a:ext uri="{FF2B5EF4-FFF2-40B4-BE49-F238E27FC236}">
                  <a16:creationId xmlns:a16="http://schemas.microsoft.com/office/drawing/2014/main" id="{A7CDFA8A-1BF0-4847-B83B-87FD46DBE2DF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40" name="Frihandsfigur: Form 39">
              <a:extLst>
                <a:ext uri="{FF2B5EF4-FFF2-40B4-BE49-F238E27FC236}">
                  <a16:creationId xmlns:a16="http://schemas.microsoft.com/office/drawing/2014/main" id="{C0D6F11F-DFE9-4A54-9C59-D0FD4887E1C4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1" name="Frihandsfigur: Form 40">
              <a:extLst>
                <a:ext uri="{FF2B5EF4-FFF2-40B4-BE49-F238E27FC236}">
                  <a16:creationId xmlns:a16="http://schemas.microsoft.com/office/drawing/2014/main" id="{26EEF3E3-250F-4D44-B687-13098900E982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2" name="Frihandsfigur: Form 41">
              <a:extLst>
                <a:ext uri="{FF2B5EF4-FFF2-40B4-BE49-F238E27FC236}">
                  <a16:creationId xmlns:a16="http://schemas.microsoft.com/office/drawing/2014/main" id="{AEB5338D-5897-4A51-83C1-4AB764EEDE62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3" name="Frihandsfigur: Form 42">
              <a:extLst>
                <a:ext uri="{FF2B5EF4-FFF2-40B4-BE49-F238E27FC236}">
                  <a16:creationId xmlns:a16="http://schemas.microsoft.com/office/drawing/2014/main" id="{D460B299-97F3-43C7-8370-3CEDAEF2A623}"/>
                </a:ext>
              </a:extLst>
            </p:cNvPr>
            <p:cNvSpPr/>
            <p:nvPr userDrawn="1"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4" name="Frihandsfigur: Form 43">
              <a:extLst>
                <a:ext uri="{FF2B5EF4-FFF2-40B4-BE49-F238E27FC236}">
                  <a16:creationId xmlns:a16="http://schemas.microsoft.com/office/drawing/2014/main" id="{71D20284-58ED-40FA-AEA2-7E3A4EFC329E}"/>
                </a:ext>
              </a:extLst>
            </p:cNvPr>
            <p:cNvSpPr/>
            <p:nvPr userDrawn="1"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sp>
        <p:nvSpPr>
          <p:cNvPr id="45" name="Frihandsfigur: Form 44">
            <a:extLst>
              <a:ext uri="{FF2B5EF4-FFF2-40B4-BE49-F238E27FC236}">
                <a16:creationId xmlns:a16="http://schemas.microsoft.com/office/drawing/2014/main" id="{C147EE60-3E98-4723-B19D-376B5B1FD8EC}"/>
              </a:ext>
            </a:extLst>
          </p:cNvPr>
          <p:cNvSpPr/>
          <p:nvPr userDrawn="1"/>
        </p:nvSpPr>
        <p:spPr>
          <a:xfrm rot="5400000">
            <a:off x="2666790" y="-2666789"/>
            <a:ext cx="6858000" cy="12191581"/>
          </a:xfrm>
          <a:custGeom>
            <a:avLst/>
            <a:gdLst>
              <a:gd name="connsiteX0" fmla="*/ 268288 w 6858000"/>
              <a:gd name="connsiteY0" fmla="*/ 11921602 h 12191581"/>
              <a:gd name="connsiteX1" fmla="*/ 6589711 w 6858000"/>
              <a:gd name="connsiteY1" fmla="*/ 11921602 h 12191581"/>
              <a:gd name="connsiteX2" fmla="*/ 6589711 w 6858000"/>
              <a:gd name="connsiteY2" fmla="*/ 271042 h 12191581"/>
              <a:gd name="connsiteX3" fmla="*/ 268288 w 6858000"/>
              <a:gd name="connsiteY3" fmla="*/ 271042 h 12191581"/>
              <a:gd name="connsiteX4" fmla="*/ 0 w 6858000"/>
              <a:gd name="connsiteY4" fmla="*/ 271042 h 12191581"/>
              <a:gd name="connsiteX5" fmla="*/ 0 w 6858000"/>
              <a:gd name="connsiteY5" fmla="*/ 0 h 12191581"/>
              <a:gd name="connsiteX6" fmla="*/ 6858000 w 6858000"/>
              <a:gd name="connsiteY6" fmla="*/ 0 h 12191581"/>
              <a:gd name="connsiteX7" fmla="*/ 6858000 w 6858000"/>
              <a:gd name="connsiteY7" fmla="*/ 271042 h 12191581"/>
              <a:gd name="connsiteX8" fmla="*/ 6857999 w 6858000"/>
              <a:gd name="connsiteY8" fmla="*/ 271042 h 12191581"/>
              <a:gd name="connsiteX9" fmla="*/ 6857999 w 6858000"/>
              <a:gd name="connsiteY9" fmla="*/ 11921602 h 12191581"/>
              <a:gd name="connsiteX10" fmla="*/ 6858000 w 6858000"/>
              <a:gd name="connsiteY10" fmla="*/ 11921602 h 12191581"/>
              <a:gd name="connsiteX11" fmla="*/ 6858000 w 6858000"/>
              <a:gd name="connsiteY11" fmla="*/ 12191581 h 12191581"/>
              <a:gd name="connsiteX12" fmla="*/ 0 w 6858000"/>
              <a:gd name="connsiteY12" fmla="*/ 12191581 h 12191581"/>
              <a:gd name="connsiteX13" fmla="*/ 0 w 6858000"/>
              <a:gd name="connsiteY13" fmla="*/ 11921602 h 12191581"/>
              <a:gd name="connsiteX14" fmla="*/ 0 w 6858000"/>
              <a:gd name="connsiteY14" fmla="*/ 11921602 h 12191581"/>
              <a:gd name="connsiteX15" fmla="*/ 0 w 6858000"/>
              <a:gd name="connsiteY15" fmla="*/ 271042 h 12191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1581">
                <a:moveTo>
                  <a:pt x="268288" y="11921602"/>
                </a:moveTo>
                <a:lnTo>
                  <a:pt x="6589711" y="11921602"/>
                </a:lnTo>
                <a:lnTo>
                  <a:pt x="6589711" y="271042"/>
                </a:lnTo>
                <a:lnTo>
                  <a:pt x="268288" y="271042"/>
                </a:lnTo>
                <a:close/>
                <a:moveTo>
                  <a:pt x="0" y="271042"/>
                </a:moveTo>
                <a:lnTo>
                  <a:pt x="0" y="0"/>
                </a:lnTo>
                <a:lnTo>
                  <a:pt x="6858000" y="0"/>
                </a:lnTo>
                <a:lnTo>
                  <a:pt x="6858000" y="271042"/>
                </a:lnTo>
                <a:lnTo>
                  <a:pt x="6857999" y="271042"/>
                </a:lnTo>
                <a:lnTo>
                  <a:pt x="6857999" y="11921602"/>
                </a:lnTo>
                <a:lnTo>
                  <a:pt x="6858000" y="11921602"/>
                </a:lnTo>
                <a:lnTo>
                  <a:pt x="6858000" y="12191581"/>
                </a:lnTo>
                <a:lnTo>
                  <a:pt x="0" y="12191581"/>
                </a:lnTo>
                <a:lnTo>
                  <a:pt x="0" y="11921602"/>
                </a:lnTo>
                <a:lnTo>
                  <a:pt x="0" y="11921602"/>
                </a:lnTo>
                <a:lnTo>
                  <a:pt x="0" y="2710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58042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67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orient="horz" pos="4149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alt + text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4" y="4696835"/>
            <a:ext cx="7889287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625477" y="1852613"/>
            <a:ext cx="10941049" cy="2763838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827C313E-1440-4B57-87B7-F567895FDC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4948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852613"/>
            <a:ext cx="5378548" cy="392271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852613"/>
            <a:ext cx="5378548" cy="392271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0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8" y="1412877"/>
            <a:ext cx="539963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1" name="Platshållare för text 4">
            <a:extLst>
              <a:ext uri="{FF2B5EF4-FFF2-40B4-BE49-F238E27FC236}">
                <a16:creationId xmlns:a16="http://schemas.microsoft.com/office/drawing/2014/main" id="{2C37B08E-07DE-4616-864F-F458B720DB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14567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spalt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0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8" y="1412877"/>
            <a:ext cx="539963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1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696835"/>
            <a:ext cx="5378549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3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6189566" y="4696835"/>
            <a:ext cx="5378549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6189566" y="1852615"/>
            <a:ext cx="5378548" cy="276383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25475" y="1852615"/>
            <a:ext cx="5378548" cy="276383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8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4" name="Platshållare för text 4">
            <a:extLst>
              <a:ext uri="{FF2B5EF4-FFF2-40B4-BE49-F238E27FC236}">
                <a16:creationId xmlns:a16="http://schemas.microsoft.com/office/drawing/2014/main" id="{23B5E0CD-E8E6-402E-AC71-302FEE71DC8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1430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908">
          <p15:clr>
            <a:srgbClr val="FBAE40"/>
          </p15:clr>
        </p15:guide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95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, en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4" y="1852613"/>
            <a:ext cx="10944723" cy="1651002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/>
          </p:nvPr>
        </p:nvSpPr>
        <p:spPr>
          <a:xfrm>
            <a:off x="625474" y="4118264"/>
            <a:ext cx="10944723" cy="165706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6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637" y="3678238"/>
            <a:ext cx="1097491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1095588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4AAB6C76-9512-4C6E-AAC7-6DBE810E99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90540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12">
          <p15:clr>
            <a:srgbClr val="FBAE40"/>
          </p15:clr>
        </p15:guide>
        <p15:guide id="2" orient="horz" pos="231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860551"/>
            <a:ext cx="3508375" cy="3914774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860551"/>
            <a:ext cx="3508375" cy="3914774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860551"/>
            <a:ext cx="3508375" cy="3914774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18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4317113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19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8029327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2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4" name="Platshållare för text 4">
            <a:extLst>
              <a:ext uri="{FF2B5EF4-FFF2-40B4-BE49-F238E27FC236}">
                <a16:creationId xmlns:a16="http://schemas.microsoft.com/office/drawing/2014/main" id="{48E65D37-1F71-4717-A3AF-CF43C574B1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6463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25477" y="1860553"/>
            <a:ext cx="3508375" cy="296816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4329785" y="1860553"/>
            <a:ext cx="3508375" cy="296816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/>
          </p:nvPr>
        </p:nvSpPr>
        <p:spPr>
          <a:xfrm>
            <a:off x="8047958" y="1860553"/>
            <a:ext cx="3508375" cy="296816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916034"/>
            <a:ext cx="3508376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4329783" y="4916034"/>
            <a:ext cx="3515308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21"/>
          <p:cNvSpPr>
            <a:spLocks noGrp="1"/>
          </p:cNvSpPr>
          <p:nvPr>
            <p:ph type="body" sz="quarter" idx="21"/>
          </p:nvPr>
        </p:nvSpPr>
        <p:spPr>
          <a:xfrm>
            <a:off x="8054890" y="4916034"/>
            <a:ext cx="3515308" cy="85294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6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18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4317113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19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8029327" y="1412877"/>
            <a:ext cx="3527979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Tx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underrubrik</a:t>
            </a:r>
          </a:p>
        </p:txBody>
      </p:sp>
      <p:sp>
        <p:nvSpPr>
          <p:cNvPr id="2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22" name="Platshållare för text 4">
            <a:extLst>
              <a:ext uri="{FF2B5EF4-FFF2-40B4-BE49-F238E27FC236}">
                <a16:creationId xmlns:a16="http://schemas.microsoft.com/office/drawing/2014/main" id="{953B7AFC-7609-43EC-83B7-215B278A8C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42145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097">
          <p15:clr>
            <a:srgbClr val="FBAE40"/>
          </p15:clr>
        </p15:guide>
        <p15:guide id="7" orient="horz" pos="30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delar, 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625476" y="1854202"/>
            <a:ext cx="5383115" cy="3906519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852613"/>
            <a:ext cx="5378548" cy="185845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/>
          </p:nvPr>
        </p:nvSpPr>
        <p:spPr>
          <a:xfrm>
            <a:off x="6189566" y="3902269"/>
            <a:ext cx="5378548" cy="1858450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10959561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85744" indent="-285744">
              <a:buFont typeface="Arial" panose="020B0604020202020204" pitchFamily="34" charset="0"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B5FE19D3-D42B-4347-923F-313134322C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27685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455">
          <p15:clr>
            <a:srgbClr val="FBAE40"/>
          </p15:clr>
        </p15:guide>
        <p15:guide id="4" orient="horz" pos="234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delar, två sp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" name="Content Placeholder 2"/>
          <p:cNvSpPr>
            <a:spLocks noGrp="1"/>
          </p:cNvSpPr>
          <p:nvPr>
            <p:ph idx="15"/>
          </p:nvPr>
        </p:nvSpPr>
        <p:spPr>
          <a:xfrm>
            <a:off x="6189566" y="1863673"/>
            <a:ext cx="5378548" cy="1647797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25475" y="1863671"/>
            <a:ext cx="5378548" cy="1640276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0"/>
          </p:nvPr>
        </p:nvSpPr>
        <p:spPr>
          <a:xfrm>
            <a:off x="6189566" y="4129033"/>
            <a:ext cx="5378548" cy="1646294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/>
          </p:nvPr>
        </p:nvSpPr>
        <p:spPr>
          <a:xfrm>
            <a:off x="625475" y="4129032"/>
            <a:ext cx="5378548" cy="1646294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26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637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7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6171460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28B198BB-22FC-433C-A61A-0508324121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6762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212">
          <p15:clr>
            <a:srgbClr val="FBAE40"/>
          </p15:clr>
        </p15:guide>
        <p15:guide id="4" orient="horz" pos="231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10959561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" dir="5400000" algn="ctr" rotWithShape="0">
              <a:schemeClr val="bg1">
                <a:lumMod val="50000"/>
              </a:schemeClr>
            </a:outerShdw>
          </a:effectLst>
        </p:spPr>
        <p:txBody>
          <a:bodyPr vert="horz" lIns="0" tIns="45720" rIns="0" bIns="45720" rtlCol="0">
            <a:normAutofit/>
          </a:bodyPr>
          <a:lstStyle>
            <a:lvl1pPr marL="228594" indent="-228594">
              <a:buFont typeface="Arial" panose="020B0604020202020204" pitchFamily="34" charset="0"/>
              <a:buNone/>
              <a:defRPr lang="sv-SE" sz="1800" b="1" dirty="0">
                <a:solidFill>
                  <a:schemeClr val="tx2"/>
                </a:solidFill>
              </a:defRPr>
            </a:lvl1pPr>
          </a:lstStyle>
          <a:p>
            <a:pPr marL="0" lvl="0" indent="0"/>
            <a:r>
              <a:rPr lang="sv-SE" dirty="0"/>
              <a:t>Klicka här för att ändra format på underrubrik</a:t>
            </a:r>
          </a:p>
        </p:txBody>
      </p:sp>
      <p:sp>
        <p:nvSpPr>
          <p:cNvPr id="10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7" name="Platshållare för text 4">
            <a:extLst>
              <a:ext uri="{FF2B5EF4-FFF2-40B4-BE49-F238E27FC236}">
                <a16:creationId xmlns:a16="http://schemas.microsoft.com/office/drawing/2014/main" id="{9A882856-C34A-4025-8C92-854625DBE2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91891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3"/>
          </p:nvPr>
        </p:nvSpPr>
        <p:spPr>
          <a:xfrm>
            <a:off x="625475" y="1412875"/>
            <a:ext cx="10942639" cy="4362450"/>
          </a:xfrm>
        </p:spPr>
        <p:txBody>
          <a:bodyPr/>
          <a:lstStyle/>
          <a:p>
            <a:endParaRPr lang="sv-SE"/>
          </a:p>
        </p:txBody>
      </p:sp>
      <p:sp>
        <p:nvSpPr>
          <p:cNvPr id="9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C9D9CAFB-783F-4E80-A9D6-9A124B005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86425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mslag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E6D38F01-5D84-46DE-ADD3-E31FB5B56794}"/>
              </a:ext>
            </a:extLst>
          </p:cNvPr>
          <p:cNvSpPr/>
          <p:nvPr userDrawn="1"/>
        </p:nvSpPr>
        <p:spPr>
          <a:xfrm>
            <a:off x="268497" y="265113"/>
            <a:ext cx="11655007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291B66-AFEF-48F4-9403-814FED28C3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4" name="Bildobjekt 3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2EEB0B73-6E8D-4D7D-B2D0-862C9B994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4513066" flipH="1" flipV="1">
            <a:off x="-57550" y="-596868"/>
            <a:ext cx="2785246" cy="3752628"/>
          </a:xfrm>
          <a:custGeom>
            <a:avLst/>
            <a:gdLst>
              <a:gd name="connsiteX0" fmla="*/ 1955847 w 4371941"/>
              <a:gd name="connsiteY0" fmla="*/ 0 h 5890423"/>
              <a:gd name="connsiteX1" fmla="*/ 0 w 4371941"/>
              <a:gd name="connsiteY1" fmla="*/ 3660581 h 5890423"/>
              <a:gd name="connsiteX2" fmla="*/ 4173393 w 4371941"/>
              <a:gd name="connsiteY2" fmla="*/ 5890423 h 5890423"/>
              <a:gd name="connsiteX3" fmla="*/ 4371941 w 4371941"/>
              <a:gd name="connsiteY3" fmla="*/ 5518819 h 5890423"/>
              <a:gd name="connsiteX4" fmla="*/ 4371941 w 4371941"/>
              <a:gd name="connsiteY4" fmla="*/ 406300 h 5890423"/>
              <a:gd name="connsiteX5" fmla="*/ 3611506 w 4371941"/>
              <a:gd name="connsiteY5" fmla="*/ 0 h 5890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71941" h="5890423">
                <a:moveTo>
                  <a:pt x="1955847" y="0"/>
                </a:moveTo>
                <a:lnTo>
                  <a:pt x="0" y="3660581"/>
                </a:lnTo>
                <a:lnTo>
                  <a:pt x="4173393" y="5890423"/>
                </a:lnTo>
                <a:lnTo>
                  <a:pt x="4371941" y="5518819"/>
                </a:lnTo>
                <a:lnTo>
                  <a:pt x="4371941" y="406300"/>
                </a:lnTo>
                <a:lnTo>
                  <a:pt x="3611506" y="0"/>
                </a:lnTo>
                <a:close/>
              </a:path>
            </a:pathLst>
          </a:custGeom>
        </p:spPr>
      </p:pic>
      <p:grpSp>
        <p:nvGrpSpPr>
          <p:cNvPr id="21" name="Grupp 20">
            <a:extLst>
              <a:ext uri="{FF2B5EF4-FFF2-40B4-BE49-F238E27FC236}">
                <a16:creationId xmlns:a16="http://schemas.microsoft.com/office/drawing/2014/main" id="{50F35DF0-EFEA-4967-B624-2D13C8DE1C3B}"/>
              </a:ext>
            </a:extLst>
          </p:cNvPr>
          <p:cNvGrpSpPr/>
          <p:nvPr userDrawn="1"/>
        </p:nvGrpSpPr>
        <p:grpSpPr>
          <a:xfrm>
            <a:off x="8142013" y="5806629"/>
            <a:ext cx="1735478" cy="326438"/>
            <a:chOff x="9835686" y="6074987"/>
            <a:chExt cx="1735478" cy="326438"/>
          </a:xfrm>
        </p:grpSpPr>
        <p:sp>
          <p:nvSpPr>
            <p:cNvPr id="22" name="Frihandsfigur: Form 21">
              <a:extLst>
                <a:ext uri="{FF2B5EF4-FFF2-40B4-BE49-F238E27FC236}">
                  <a16:creationId xmlns:a16="http://schemas.microsoft.com/office/drawing/2014/main" id="{36BD0FB2-4DD7-4429-9F67-1B921050D708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3" name="Frihandsfigur: Form 22">
              <a:extLst>
                <a:ext uri="{FF2B5EF4-FFF2-40B4-BE49-F238E27FC236}">
                  <a16:creationId xmlns:a16="http://schemas.microsoft.com/office/drawing/2014/main" id="{1916AF60-1BE1-4828-9223-94DE6289B376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4" name="Frihandsfigur: Form 23">
              <a:extLst>
                <a:ext uri="{FF2B5EF4-FFF2-40B4-BE49-F238E27FC236}">
                  <a16:creationId xmlns:a16="http://schemas.microsoft.com/office/drawing/2014/main" id="{D0D4C18C-7F26-47DA-AE1D-2877E2E7A211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5" name="Frihandsfigur: Form 24">
              <a:extLst>
                <a:ext uri="{FF2B5EF4-FFF2-40B4-BE49-F238E27FC236}">
                  <a16:creationId xmlns:a16="http://schemas.microsoft.com/office/drawing/2014/main" id="{7B3D3FEA-9DB1-4BC5-AB4F-C671EA70B53D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6" name="Frihandsfigur: Form 25">
              <a:extLst>
                <a:ext uri="{FF2B5EF4-FFF2-40B4-BE49-F238E27FC236}">
                  <a16:creationId xmlns:a16="http://schemas.microsoft.com/office/drawing/2014/main" id="{BDF06BA3-4FC3-4789-8943-EFCCA594EF25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7" name="Frihandsfigur: Form 26">
              <a:extLst>
                <a:ext uri="{FF2B5EF4-FFF2-40B4-BE49-F238E27FC236}">
                  <a16:creationId xmlns:a16="http://schemas.microsoft.com/office/drawing/2014/main" id="{1427416E-03A9-4D69-B4DE-B3C67450AF34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8" name="Frihandsfigur: Form 27">
              <a:extLst>
                <a:ext uri="{FF2B5EF4-FFF2-40B4-BE49-F238E27FC236}">
                  <a16:creationId xmlns:a16="http://schemas.microsoft.com/office/drawing/2014/main" id="{27862BB7-0315-4CAC-B958-BA948B4FFB22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9" name="Frihandsfigur: Form 28">
              <a:extLst>
                <a:ext uri="{FF2B5EF4-FFF2-40B4-BE49-F238E27FC236}">
                  <a16:creationId xmlns:a16="http://schemas.microsoft.com/office/drawing/2014/main" id="{3B329DF4-C439-4E7A-94BC-3D68E84A7CA3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0" name="Frihandsfigur: Form 29">
              <a:extLst>
                <a:ext uri="{FF2B5EF4-FFF2-40B4-BE49-F238E27FC236}">
                  <a16:creationId xmlns:a16="http://schemas.microsoft.com/office/drawing/2014/main" id="{160DBAA9-1657-44DA-84BF-1DD6845E0C62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1" name="Frihandsfigur: Form 30">
              <a:extLst>
                <a:ext uri="{FF2B5EF4-FFF2-40B4-BE49-F238E27FC236}">
                  <a16:creationId xmlns:a16="http://schemas.microsoft.com/office/drawing/2014/main" id="{D52CB9EE-D034-46A8-A2B6-AE267E7A6345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sp>
        <p:nvSpPr>
          <p:cNvPr id="32" name="Rubrik 33">
            <a:extLst>
              <a:ext uri="{FF2B5EF4-FFF2-40B4-BE49-F238E27FC236}">
                <a16:creationId xmlns:a16="http://schemas.microsoft.com/office/drawing/2014/main" id="{339C7CD2-1E73-45D7-BDAC-D750A2A26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1390" y="2291453"/>
            <a:ext cx="5116722" cy="1387915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3" name="Platshållare för text 11">
            <a:extLst>
              <a:ext uri="{FF2B5EF4-FFF2-40B4-BE49-F238E27FC236}">
                <a16:creationId xmlns:a16="http://schemas.microsoft.com/office/drawing/2014/main" id="{7ADBA333-5563-42C5-8601-2A9A9F4B49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51391" y="3899972"/>
            <a:ext cx="5116721" cy="1014412"/>
          </a:xfrm>
        </p:spPr>
        <p:txBody>
          <a:bodyPr>
            <a:normAutofit/>
          </a:bodyPr>
          <a:lstStyle>
            <a:lvl1pPr marL="0" indent="0" algn="ctr">
              <a:buNone/>
              <a:defRPr sz="18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latshållare för bild 34">
            <a:extLst>
              <a:ext uri="{FF2B5EF4-FFF2-40B4-BE49-F238E27FC236}">
                <a16:creationId xmlns:a16="http://schemas.microsoft.com/office/drawing/2014/main" id="{D2B56A52-7C1A-497F-B662-49C1FAC5C28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5072" y="1600878"/>
            <a:ext cx="3406958" cy="340695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99225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ild m. text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4" y="4696835"/>
            <a:ext cx="7889287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bild 4"/>
          <p:cNvSpPr>
            <a:spLocks noGrp="1"/>
          </p:cNvSpPr>
          <p:nvPr>
            <p:ph type="pic" sz="quarter" idx="13"/>
          </p:nvPr>
        </p:nvSpPr>
        <p:spPr>
          <a:xfrm>
            <a:off x="625475" y="1412877"/>
            <a:ext cx="10942639" cy="3196647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2" name="Platshållare för text 4">
            <a:extLst>
              <a:ext uri="{FF2B5EF4-FFF2-40B4-BE49-F238E27FC236}">
                <a16:creationId xmlns:a16="http://schemas.microsoft.com/office/drawing/2014/main" id="{976CF01E-AF18-4D4F-84A7-6658F63CFE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211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625475" y="1412875"/>
            <a:ext cx="5384800" cy="435610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2" name="Platshållare för bild 7"/>
          <p:cNvSpPr>
            <a:spLocks noGrp="1"/>
          </p:cNvSpPr>
          <p:nvPr>
            <p:ph type="pic" sz="quarter" idx="17"/>
          </p:nvPr>
        </p:nvSpPr>
        <p:spPr>
          <a:xfrm>
            <a:off x="6186488" y="1419225"/>
            <a:ext cx="5383709" cy="435610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AF89F5BC-75DF-4272-A5F3-7AC766F7AE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7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bilder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625475" y="1412877"/>
            <a:ext cx="5384800" cy="3196647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696835"/>
            <a:ext cx="5384800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bild 7"/>
          <p:cNvSpPr>
            <a:spLocks noGrp="1"/>
          </p:cNvSpPr>
          <p:nvPr>
            <p:ph type="pic" sz="quarter" idx="17"/>
          </p:nvPr>
        </p:nvSpPr>
        <p:spPr>
          <a:xfrm>
            <a:off x="6186488" y="1412877"/>
            <a:ext cx="5384800" cy="3196647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3" name="Platshållare för text 21"/>
          <p:cNvSpPr>
            <a:spLocks noGrp="1"/>
          </p:cNvSpPr>
          <p:nvPr>
            <p:ph type="body" sz="quarter" idx="18"/>
          </p:nvPr>
        </p:nvSpPr>
        <p:spPr>
          <a:xfrm>
            <a:off x="6186488" y="4696835"/>
            <a:ext cx="5384800" cy="1072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4" name="Platshållare för text 4">
            <a:extLst>
              <a:ext uri="{FF2B5EF4-FFF2-40B4-BE49-F238E27FC236}">
                <a16:creationId xmlns:a16="http://schemas.microsoft.com/office/drawing/2014/main" id="{690F9EEA-3358-4652-B539-95C40DA229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8347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7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625475" y="1412875"/>
            <a:ext cx="3513139" cy="436245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9" name="Platshållare för bild 7"/>
          <p:cNvSpPr>
            <a:spLocks noGrp="1"/>
          </p:cNvSpPr>
          <p:nvPr>
            <p:ph type="pic" sz="quarter" idx="22"/>
          </p:nvPr>
        </p:nvSpPr>
        <p:spPr>
          <a:xfrm>
            <a:off x="4332289" y="1412875"/>
            <a:ext cx="3503612" cy="436245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7"/>
          <p:cNvSpPr>
            <a:spLocks noGrp="1"/>
          </p:cNvSpPr>
          <p:nvPr>
            <p:ph type="pic" sz="quarter" idx="23"/>
          </p:nvPr>
        </p:nvSpPr>
        <p:spPr>
          <a:xfrm>
            <a:off x="8057059" y="1412875"/>
            <a:ext cx="3513139" cy="436245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513499C4-8B97-4E65-A50D-EDE6B21ED1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4089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m.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5" y="4746625"/>
            <a:ext cx="3508376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5" name="Platshållare för text 21"/>
          <p:cNvSpPr>
            <a:spLocks noGrp="1"/>
          </p:cNvSpPr>
          <p:nvPr>
            <p:ph type="body" sz="quarter" idx="20"/>
          </p:nvPr>
        </p:nvSpPr>
        <p:spPr>
          <a:xfrm>
            <a:off x="4329783" y="4746625"/>
            <a:ext cx="3515308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6" name="Platshållare för text 21"/>
          <p:cNvSpPr>
            <a:spLocks noGrp="1"/>
          </p:cNvSpPr>
          <p:nvPr>
            <p:ph type="body" sz="quarter" idx="21"/>
          </p:nvPr>
        </p:nvSpPr>
        <p:spPr>
          <a:xfrm>
            <a:off x="8054890" y="4746625"/>
            <a:ext cx="3515308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625475" y="1412875"/>
            <a:ext cx="3513139" cy="3240088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9" name="Platshållare för bild 7"/>
          <p:cNvSpPr>
            <a:spLocks noGrp="1"/>
          </p:cNvSpPr>
          <p:nvPr>
            <p:ph type="pic" sz="quarter" idx="22"/>
          </p:nvPr>
        </p:nvSpPr>
        <p:spPr>
          <a:xfrm>
            <a:off x="4332289" y="1412875"/>
            <a:ext cx="3503612" cy="3240088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7"/>
          <p:cNvSpPr>
            <a:spLocks noGrp="1"/>
          </p:cNvSpPr>
          <p:nvPr>
            <p:ph type="pic" sz="quarter" idx="23"/>
          </p:nvPr>
        </p:nvSpPr>
        <p:spPr>
          <a:xfrm>
            <a:off x="8057059" y="1412875"/>
            <a:ext cx="3513139" cy="3240088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2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3" name="Platshållare för text 4">
            <a:extLst>
              <a:ext uri="{FF2B5EF4-FFF2-40B4-BE49-F238E27FC236}">
                <a16:creationId xmlns:a16="http://schemas.microsoft.com/office/drawing/2014/main" id="{FA57B1EE-41AE-40B4-B015-BC12056296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78109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2729">
          <p15:clr>
            <a:srgbClr val="FBAE40"/>
          </p15:clr>
        </p15:guide>
        <p15:guide id="3" pos="2607">
          <p15:clr>
            <a:srgbClr val="FBAE40"/>
          </p15:clr>
        </p15:guide>
        <p15:guide id="4" pos="4936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931">
          <p15:clr>
            <a:srgbClr val="FBAE40"/>
          </p15:clr>
        </p15:guide>
        <p15:guide id="7" orient="horz" pos="298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bilder m. fyra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5"/>
          <p:cNvSpPr>
            <a:spLocks noGrp="1"/>
          </p:cNvSpPr>
          <p:nvPr>
            <p:ph type="pic" sz="quarter" idx="24"/>
          </p:nvPr>
        </p:nvSpPr>
        <p:spPr>
          <a:xfrm>
            <a:off x="625474" y="1773240"/>
            <a:ext cx="5378451" cy="1730375"/>
          </a:xfrm>
        </p:spPr>
        <p:txBody>
          <a:bodyPr/>
          <a:lstStyle/>
          <a:p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37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9" hasCustomPrompt="1"/>
          </p:nvPr>
        </p:nvSpPr>
        <p:spPr>
          <a:xfrm>
            <a:off x="6171460" y="1412877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6" name="Platshållare för text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637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27" name="Platshållare för text 7"/>
          <p:cNvSpPr>
            <a:spLocks noGrp="1"/>
          </p:cNvSpPr>
          <p:nvPr>
            <p:ph type="body" sz="quarter" idx="23" hasCustomPrompt="1"/>
          </p:nvPr>
        </p:nvSpPr>
        <p:spPr>
          <a:xfrm>
            <a:off x="6171460" y="3678238"/>
            <a:ext cx="5393387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/>
              <a:t>Klicka här för att ändra format på underrubrik</a:t>
            </a:r>
          </a:p>
        </p:txBody>
      </p:sp>
      <p:sp>
        <p:nvSpPr>
          <p:cNvPr id="14" name="Platshållare för bild 5"/>
          <p:cNvSpPr>
            <a:spLocks noGrp="1"/>
          </p:cNvSpPr>
          <p:nvPr>
            <p:ph type="pic" sz="quarter" idx="25"/>
          </p:nvPr>
        </p:nvSpPr>
        <p:spPr>
          <a:xfrm>
            <a:off x="6186488" y="1773240"/>
            <a:ext cx="5378451" cy="1730375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bild 5"/>
          <p:cNvSpPr>
            <a:spLocks noGrp="1"/>
          </p:cNvSpPr>
          <p:nvPr>
            <p:ph type="pic" sz="quarter" idx="26"/>
          </p:nvPr>
        </p:nvSpPr>
        <p:spPr>
          <a:xfrm>
            <a:off x="625474" y="4038601"/>
            <a:ext cx="5378451" cy="1730375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bild 5"/>
          <p:cNvSpPr>
            <a:spLocks noGrp="1"/>
          </p:cNvSpPr>
          <p:nvPr>
            <p:ph type="pic" sz="quarter" idx="27"/>
          </p:nvPr>
        </p:nvSpPr>
        <p:spPr>
          <a:xfrm>
            <a:off x="6186488" y="4038601"/>
            <a:ext cx="5378451" cy="1730375"/>
          </a:xfrm>
        </p:spPr>
        <p:txBody>
          <a:bodyPr/>
          <a:lstStyle/>
          <a:p>
            <a:endParaRPr lang="sv-SE"/>
          </a:p>
        </p:txBody>
      </p:sp>
      <p:sp>
        <p:nvSpPr>
          <p:cNvPr id="18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9" name="Platshållare för text 4">
            <a:extLst>
              <a:ext uri="{FF2B5EF4-FFF2-40B4-BE49-F238E27FC236}">
                <a16:creationId xmlns:a16="http://schemas.microsoft.com/office/drawing/2014/main" id="{194A7F5C-B530-4173-9BD6-859C5AAA24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15210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7">
          <p15:clr>
            <a:srgbClr val="FBAE40"/>
          </p15:clr>
        </p15:guide>
        <p15:guide id="2" pos="3787">
          <p15:clr>
            <a:srgbClr val="FBAE40"/>
          </p15:clr>
        </p15:guide>
        <p15:guide id="3" orient="horz" pos="2212">
          <p15:clr>
            <a:srgbClr val="FBAE40"/>
          </p15:clr>
        </p15:guide>
        <p15:guide id="4" orient="horz" pos="231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kolage m. text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4" name="Platshållare för text 21"/>
          <p:cNvSpPr>
            <a:spLocks noGrp="1"/>
          </p:cNvSpPr>
          <p:nvPr>
            <p:ph type="body" sz="quarter" idx="16"/>
          </p:nvPr>
        </p:nvSpPr>
        <p:spPr>
          <a:xfrm>
            <a:off x="625473" y="4746625"/>
            <a:ext cx="7210427" cy="10223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500"/>
              </a:spcBef>
              <a:defRPr sz="14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7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625476" y="1412875"/>
            <a:ext cx="7210425" cy="3240088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7"/>
          <p:cNvSpPr>
            <a:spLocks noGrp="1"/>
          </p:cNvSpPr>
          <p:nvPr>
            <p:ph type="pic" sz="quarter" idx="23"/>
          </p:nvPr>
        </p:nvSpPr>
        <p:spPr>
          <a:xfrm>
            <a:off x="8057059" y="1412876"/>
            <a:ext cx="3513139" cy="152111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7"/>
          <p:cNvSpPr>
            <a:spLocks noGrp="1"/>
          </p:cNvSpPr>
          <p:nvPr>
            <p:ph type="pic" sz="quarter" idx="24"/>
          </p:nvPr>
        </p:nvSpPr>
        <p:spPr>
          <a:xfrm>
            <a:off x="8056214" y="3027651"/>
            <a:ext cx="1701951" cy="1625312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1" name="Platshållare för bild 7"/>
          <p:cNvSpPr>
            <a:spLocks noGrp="1"/>
          </p:cNvSpPr>
          <p:nvPr>
            <p:ph type="pic" sz="quarter" idx="22"/>
          </p:nvPr>
        </p:nvSpPr>
        <p:spPr>
          <a:xfrm>
            <a:off x="9878269" y="3027651"/>
            <a:ext cx="1701951" cy="1625312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3" name="Platshållare för text 14"/>
          <p:cNvSpPr>
            <a:spLocks noGrp="1"/>
          </p:cNvSpPr>
          <p:nvPr>
            <p:ph type="body" sz="quarter" idx="12" hasCustomPrompt="1"/>
          </p:nvPr>
        </p:nvSpPr>
        <p:spPr>
          <a:xfrm>
            <a:off x="625475" y="5856290"/>
            <a:ext cx="6295091" cy="231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sv-SE" dirty="0"/>
              <a:t>Klicka här för att ändra format på källhänvisning</a:t>
            </a:r>
          </a:p>
        </p:txBody>
      </p:sp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86605E80-F447-431C-8CEA-58CD283973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2351" y="110533"/>
            <a:ext cx="2927847" cy="197446"/>
          </a:xfr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900" baseline="0">
                <a:solidFill>
                  <a:schemeClr val="bg1">
                    <a:lumMod val="75000"/>
                  </a:schemeClr>
                </a:solidFill>
              </a:defRPr>
            </a:lvl1pPr>
            <a:lvl2pPr marL="269868" indent="0">
              <a:buFontTx/>
              <a:buNone/>
              <a:defRPr/>
            </a:lvl2pPr>
            <a:lvl3pPr marL="452426" indent="0">
              <a:buFontTx/>
              <a:buNone/>
              <a:defRPr/>
            </a:lvl3pPr>
            <a:lvl4pPr marL="452426" indent="0">
              <a:buFontTx/>
              <a:buNone/>
              <a:defRPr/>
            </a:lvl4pPr>
            <a:lvl5pPr marL="452426" indent="0">
              <a:buFontTx/>
              <a:buNone/>
              <a:defRPr/>
            </a:lvl5pPr>
          </a:lstStyle>
          <a:p>
            <a:pPr lvl="0"/>
            <a:r>
              <a:rPr lang="sv-SE" dirty="0"/>
              <a:t>Klicka här för att ändra </a:t>
            </a:r>
            <a:r>
              <a:rPr lang="sv-SE" dirty="0" err="1"/>
              <a:t>track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984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9">
          <p15:clr>
            <a:srgbClr val="FBAE40"/>
          </p15:clr>
        </p15:guide>
        <p15:guide id="2" pos="4936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2931">
          <p15:clr>
            <a:srgbClr val="FBAE40"/>
          </p15:clr>
        </p15:guide>
        <p15:guide id="5" orient="horz" pos="298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bild m. skö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658814" y="1665290"/>
            <a:ext cx="3750311" cy="3670451"/>
          </a:xfrm>
          <a:custGeom>
            <a:avLst/>
            <a:gdLst>
              <a:gd name="connsiteX0" fmla="*/ 1996394 w 3999812"/>
              <a:gd name="connsiteY0" fmla="*/ 0 h 3914640"/>
              <a:gd name="connsiteX1" fmla="*/ 2067694 w 3999812"/>
              <a:gd name="connsiteY1" fmla="*/ 0 h 3914640"/>
              <a:gd name="connsiteX2" fmla="*/ 3998988 w 3999812"/>
              <a:gd name="connsiteY2" fmla="*/ 3894657 h 3914640"/>
              <a:gd name="connsiteX3" fmla="*/ 3989688 w 3999812"/>
              <a:gd name="connsiteY3" fmla="*/ 3913262 h 3914640"/>
              <a:gd name="connsiteX4" fmla="*/ 1996394 w 3999812"/>
              <a:gd name="connsiteY4" fmla="*/ 3913262 h 3914640"/>
              <a:gd name="connsiteX5" fmla="*/ 601398 w 3999812"/>
              <a:gd name="connsiteY5" fmla="*/ 3364413 h 3914640"/>
              <a:gd name="connsiteX6" fmla="*/ 0 w 3999812"/>
              <a:gd name="connsiteY6" fmla="*/ 1956631 h 3914640"/>
              <a:gd name="connsiteX7" fmla="*/ 601398 w 3999812"/>
              <a:gd name="connsiteY7" fmla="*/ 551950 h 3914640"/>
              <a:gd name="connsiteX8" fmla="*/ 1996394 w 3999812"/>
              <a:gd name="connsiteY8" fmla="*/ 0 h 3914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812" h="3914640">
                <a:moveTo>
                  <a:pt x="1996394" y="0"/>
                </a:moveTo>
                <a:cubicBezTo>
                  <a:pt x="1996394" y="0"/>
                  <a:pt x="2021194" y="0"/>
                  <a:pt x="2067694" y="0"/>
                </a:cubicBezTo>
                <a:cubicBezTo>
                  <a:pt x="2067694" y="0"/>
                  <a:pt x="3995888" y="3891556"/>
                  <a:pt x="3998988" y="3894657"/>
                </a:cubicBezTo>
                <a:cubicBezTo>
                  <a:pt x="4002088" y="3903960"/>
                  <a:pt x="3995888" y="3913262"/>
                  <a:pt x="3989688" y="3913262"/>
                </a:cubicBezTo>
                <a:cubicBezTo>
                  <a:pt x="3989688" y="3913262"/>
                  <a:pt x="1999494" y="3916363"/>
                  <a:pt x="1996394" y="3913262"/>
                </a:cubicBezTo>
                <a:cubicBezTo>
                  <a:pt x="1345396" y="3894657"/>
                  <a:pt x="951697" y="3693103"/>
                  <a:pt x="601398" y="3364413"/>
                </a:cubicBezTo>
                <a:cubicBezTo>
                  <a:pt x="229399" y="3014018"/>
                  <a:pt x="0" y="2520984"/>
                  <a:pt x="0" y="1956631"/>
                </a:cubicBezTo>
                <a:cubicBezTo>
                  <a:pt x="0" y="1392278"/>
                  <a:pt x="229399" y="899244"/>
                  <a:pt x="601398" y="551950"/>
                </a:cubicBezTo>
                <a:cubicBezTo>
                  <a:pt x="951697" y="223261"/>
                  <a:pt x="1345396" y="21706"/>
                  <a:pt x="199639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96000" tIns="0" rIns="1332000" bIns="0" anchor="ctr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1">
                <a:solidFill>
                  <a:schemeClr val="bg2"/>
                </a:solidFill>
              </a:defRPr>
            </a:lvl1pPr>
            <a:lvl2pPr marL="457189" indent="0" algn="l">
              <a:buFontTx/>
              <a:buNone/>
              <a:defRPr sz="2600">
                <a:solidFill>
                  <a:schemeClr val="bg2"/>
                </a:solidFill>
              </a:defRPr>
            </a:lvl2pPr>
            <a:lvl3pPr marL="914377" indent="0" algn="l">
              <a:buFontTx/>
              <a:buNone/>
              <a:defRPr sz="2600">
                <a:solidFill>
                  <a:schemeClr val="bg2"/>
                </a:solidFill>
              </a:defRPr>
            </a:lvl3pPr>
            <a:lvl4pPr marL="1371566" indent="0" algn="l">
              <a:buFontTx/>
              <a:buNone/>
              <a:defRPr sz="2600">
                <a:solidFill>
                  <a:schemeClr val="bg2"/>
                </a:solidFill>
              </a:defRPr>
            </a:lvl4pPr>
            <a:lvl5pPr marL="1828754" indent="0" algn="l">
              <a:buFontTx/>
              <a:buNone/>
              <a:defRPr sz="2600">
                <a:solidFill>
                  <a:schemeClr val="bg2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32663149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bild m. skö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2" hasCustomPrompt="1"/>
          </p:nvPr>
        </p:nvSpPr>
        <p:spPr>
          <a:xfrm>
            <a:off x="7530087" y="1183143"/>
            <a:ext cx="4003100" cy="3916363"/>
          </a:xfrm>
          <a:custGeom>
            <a:avLst/>
            <a:gdLst>
              <a:gd name="connsiteX0" fmla="*/ 1933354 w 4003100"/>
              <a:gd name="connsiteY0" fmla="*/ 0 h 3916363"/>
              <a:gd name="connsiteX1" fmla="*/ 2006404 w 4003100"/>
              <a:gd name="connsiteY1" fmla="*/ 0 h 3916363"/>
              <a:gd name="connsiteX2" fmla="*/ 3402468 w 4003100"/>
              <a:gd name="connsiteY2" fmla="*/ 551943 h 3916363"/>
              <a:gd name="connsiteX3" fmla="*/ 4003100 w 4003100"/>
              <a:gd name="connsiteY3" fmla="*/ 1956152 h 3916363"/>
              <a:gd name="connsiteX4" fmla="*/ 3402468 w 4003100"/>
              <a:gd name="connsiteY4" fmla="*/ 3364420 h 3916363"/>
              <a:gd name="connsiteX5" fmla="*/ 2006404 w 4003100"/>
              <a:gd name="connsiteY5" fmla="*/ 3916363 h 3916363"/>
              <a:gd name="connsiteX6" fmla="*/ 9708 w 4003100"/>
              <a:gd name="connsiteY6" fmla="*/ 3912305 h 3916363"/>
              <a:gd name="connsiteX7" fmla="*/ 1591 w 4003100"/>
              <a:gd name="connsiteY7" fmla="*/ 3896071 h 3916363"/>
              <a:gd name="connsiteX8" fmla="*/ 1933354 w 4003100"/>
              <a:gd name="connsiteY8" fmla="*/ 0 h 391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03100" h="3916363">
                <a:moveTo>
                  <a:pt x="1933354" y="0"/>
                </a:moveTo>
                <a:cubicBezTo>
                  <a:pt x="1977996" y="0"/>
                  <a:pt x="2006404" y="0"/>
                  <a:pt x="2006404" y="0"/>
                </a:cubicBezTo>
                <a:cubicBezTo>
                  <a:pt x="2655736" y="20292"/>
                  <a:pt x="3053452" y="219154"/>
                  <a:pt x="3402468" y="551943"/>
                </a:cubicBezTo>
                <a:cubicBezTo>
                  <a:pt x="3771776" y="896908"/>
                  <a:pt x="4003100" y="1392034"/>
                  <a:pt x="4003100" y="1956152"/>
                </a:cubicBezTo>
                <a:cubicBezTo>
                  <a:pt x="4003100" y="2520271"/>
                  <a:pt x="3771776" y="3015397"/>
                  <a:pt x="3402468" y="3364420"/>
                </a:cubicBezTo>
                <a:cubicBezTo>
                  <a:pt x="3053452" y="3693151"/>
                  <a:pt x="2655736" y="3892013"/>
                  <a:pt x="2006404" y="3916363"/>
                </a:cubicBezTo>
                <a:cubicBezTo>
                  <a:pt x="2002346" y="3916363"/>
                  <a:pt x="9708" y="3912305"/>
                  <a:pt x="9708" y="3912305"/>
                </a:cubicBezTo>
                <a:cubicBezTo>
                  <a:pt x="1591" y="3912305"/>
                  <a:pt x="-2467" y="3904188"/>
                  <a:pt x="1591" y="3896071"/>
                </a:cubicBezTo>
                <a:cubicBezTo>
                  <a:pt x="5649" y="3892013"/>
                  <a:pt x="1933354" y="0"/>
                  <a:pt x="193335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512000" tIns="0" rIns="432000" bIns="0" anchor="ctr" anchorCtr="0">
            <a:noAutofit/>
          </a:bodyPr>
          <a:lstStyle>
            <a:lvl1pPr marL="0" indent="0" algn="l">
              <a:buFontTx/>
              <a:buNone/>
              <a:defRPr sz="2600" b="1">
                <a:solidFill>
                  <a:schemeClr val="tx2"/>
                </a:solidFill>
              </a:defRPr>
            </a:lvl1pPr>
            <a:lvl2pPr marL="457189" indent="0" algn="l">
              <a:buFontTx/>
              <a:buNone/>
              <a:defRPr sz="2600">
                <a:solidFill>
                  <a:schemeClr val="bg2"/>
                </a:solidFill>
              </a:defRPr>
            </a:lvl2pPr>
            <a:lvl3pPr marL="914377" indent="0" algn="l">
              <a:buFontTx/>
              <a:buNone/>
              <a:defRPr sz="2600">
                <a:solidFill>
                  <a:schemeClr val="bg2"/>
                </a:solidFill>
              </a:defRPr>
            </a:lvl3pPr>
            <a:lvl4pPr marL="1371566" indent="0" algn="l">
              <a:buFontTx/>
              <a:buNone/>
              <a:defRPr sz="2600">
                <a:solidFill>
                  <a:schemeClr val="bg2"/>
                </a:solidFill>
              </a:defRPr>
            </a:lvl4pPr>
            <a:lvl5pPr marL="1828754" indent="0" algn="l">
              <a:buFontTx/>
              <a:buNone/>
              <a:defRPr sz="26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235889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658088F-035B-41E2-AF26-A4714D676B9E}"/>
              </a:ext>
            </a:extLst>
          </p:cNvPr>
          <p:cNvSpPr/>
          <p:nvPr userDrawn="1"/>
        </p:nvSpPr>
        <p:spPr>
          <a:xfrm>
            <a:off x="268497" y="265113"/>
            <a:ext cx="11655007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" name="Frihandsfigur: Form 4">
            <a:extLst>
              <a:ext uri="{FF2B5EF4-FFF2-40B4-BE49-F238E27FC236}">
                <a16:creationId xmlns:a16="http://schemas.microsoft.com/office/drawing/2014/main" id="{E71BF87E-5D0D-43CD-AF6C-902C492E9AE2}"/>
              </a:ext>
            </a:extLst>
          </p:cNvPr>
          <p:cNvSpPr/>
          <p:nvPr/>
        </p:nvSpPr>
        <p:spPr>
          <a:xfrm>
            <a:off x="2506148" y="3797246"/>
            <a:ext cx="2963936" cy="1954683"/>
          </a:xfrm>
          <a:custGeom>
            <a:avLst/>
            <a:gdLst>
              <a:gd name="connsiteX0" fmla="*/ 299514 w 2963936"/>
              <a:gd name="connsiteY0" fmla="*/ 274871 h 1954683"/>
              <a:gd name="connsiteX1" fmla="*/ 996237 w 2963936"/>
              <a:gd name="connsiteY1" fmla="*/ -349 h 1954683"/>
              <a:gd name="connsiteX2" fmla="*/ 1908619 w 2963936"/>
              <a:gd name="connsiteY2" fmla="*/ -349 h 1954683"/>
              <a:gd name="connsiteX3" fmla="*/ 1966870 w 2963936"/>
              <a:gd name="connsiteY3" fmla="*/ -349 h 1954683"/>
              <a:gd name="connsiteX4" fmla="*/ 2663593 w 2963936"/>
              <a:gd name="connsiteY4" fmla="*/ 274871 h 1954683"/>
              <a:gd name="connsiteX5" fmla="*/ 2963684 w 2963936"/>
              <a:gd name="connsiteY5" fmla="*/ 977157 h 1954683"/>
              <a:gd name="connsiteX6" fmla="*/ 2963684 w 2963936"/>
              <a:gd name="connsiteY6" fmla="*/ 1954334 h 1954683"/>
              <a:gd name="connsiteX7" fmla="*/ 996237 w 2963936"/>
              <a:gd name="connsiteY7" fmla="*/ 1954334 h 1954683"/>
              <a:gd name="connsiteX8" fmla="*/ 299514 w 2963936"/>
              <a:gd name="connsiteY8" fmla="*/ 1679114 h 1954683"/>
              <a:gd name="connsiteX9" fmla="*/ 270095 w 2963936"/>
              <a:gd name="connsiteY9" fmla="*/ 303963 h 1954683"/>
              <a:gd name="connsiteX10" fmla="*/ 299514 w 2963936"/>
              <a:gd name="connsiteY10" fmla="*/ 274544 h 195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3936" h="1954683">
                <a:moveTo>
                  <a:pt x="299514" y="274871"/>
                </a:moveTo>
                <a:cubicBezTo>
                  <a:pt x="474268" y="111245"/>
                  <a:pt x="671929" y="10450"/>
                  <a:pt x="996237" y="-349"/>
                </a:cubicBezTo>
                <a:cubicBezTo>
                  <a:pt x="998200" y="-349"/>
                  <a:pt x="1908619" y="-349"/>
                  <a:pt x="1908619" y="-349"/>
                </a:cubicBezTo>
                <a:lnTo>
                  <a:pt x="1966870" y="-349"/>
                </a:lnTo>
                <a:cubicBezTo>
                  <a:pt x="2291179" y="10450"/>
                  <a:pt x="2488840" y="110590"/>
                  <a:pt x="2663593" y="274871"/>
                </a:cubicBezTo>
                <a:cubicBezTo>
                  <a:pt x="2856901" y="457086"/>
                  <a:pt x="2965615" y="711525"/>
                  <a:pt x="2963684" y="977157"/>
                </a:cubicBezTo>
                <a:lnTo>
                  <a:pt x="2963684" y="1954334"/>
                </a:lnTo>
                <a:cubicBezTo>
                  <a:pt x="2963684" y="1954334"/>
                  <a:pt x="997874" y="1954334"/>
                  <a:pt x="996237" y="1954334"/>
                </a:cubicBezTo>
                <a:cubicBezTo>
                  <a:pt x="671929" y="1943863"/>
                  <a:pt x="474268" y="1843723"/>
                  <a:pt x="299514" y="1679114"/>
                </a:cubicBezTo>
                <a:cubicBezTo>
                  <a:pt x="-88346" y="1307519"/>
                  <a:pt x="-101534" y="691825"/>
                  <a:pt x="270095" y="303963"/>
                </a:cubicBezTo>
                <a:cubicBezTo>
                  <a:pt x="279683" y="293950"/>
                  <a:pt x="289500" y="284132"/>
                  <a:pt x="299514" y="274544"/>
                </a:cubicBezTo>
              </a:path>
            </a:pathLst>
          </a:custGeom>
          <a:solidFill>
            <a:schemeClr val="tx2"/>
          </a:solidFill>
          <a:ln w="32716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B7465BC1-957E-42FA-9568-4A3EF822D231}"/>
              </a:ext>
            </a:extLst>
          </p:cNvPr>
          <p:cNvSpPr/>
          <p:nvPr/>
        </p:nvSpPr>
        <p:spPr>
          <a:xfrm>
            <a:off x="3871505" y="1055844"/>
            <a:ext cx="1877710" cy="1836872"/>
          </a:xfrm>
          <a:custGeom>
            <a:avLst/>
            <a:gdLst>
              <a:gd name="connsiteX0" fmla="*/ 1596037 w 1877710"/>
              <a:gd name="connsiteY0" fmla="*/ 258182 h 1836872"/>
              <a:gd name="connsiteX1" fmla="*/ 941531 w 1877710"/>
              <a:gd name="connsiteY1" fmla="*/ -349 h 1836872"/>
              <a:gd name="connsiteX2" fmla="*/ 906842 w 1877710"/>
              <a:gd name="connsiteY2" fmla="*/ -349 h 1836872"/>
              <a:gd name="connsiteX3" fmla="*/ 677 w 1877710"/>
              <a:gd name="connsiteY3" fmla="*/ 1827689 h 1836872"/>
              <a:gd name="connsiteX4" fmla="*/ 4931 w 1877710"/>
              <a:gd name="connsiteY4" fmla="*/ 1836524 h 1836872"/>
              <a:gd name="connsiteX5" fmla="*/ 941203 w 1877710"/>
              <a:gd name="connsiteY5" fmla="*/ 1836524 h 1836872"/>
              <a:gd name="connsiteX6" fmla="*/ 1595710 w 1877710"/>
              <a:gd name="connsiteY6" fmla="*/ 1577994 h 1836872"/>
              <a:gd name="connsiteX7" fmla="*/ 1623527 w 1877710"/>
              <a:gd name="connsiteY7" fmla="*/ 285671 h 1836872"/>
              <a:gd name="connsiteX8" fmla="*/ 1595710 w 1877710"/>
              <a:gd name="connsiteY8" fmla="*/ 257855 h 1836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7710" h="1836872">
                <a:moveTo>
                  <a:pt x="1596037" y="258182"/>
                </a:moveTo>
                <a:cubicBezTo>
                  <a:pt x="1432411" y="103719"/>
                  <a:pt x="1246203" y="9469"/>
                  <a:pt x="941531" y="-349"/>
                </a:cubicBezTo>
                <a:lnTo>
                  <a:pt x="906842" y="-349"/>
                </a:lnTo>
                <a:lnTo>
                  <a:pt x="677" y="1827689"/>
                </a:lnTo>
                <a:cubicBezTo>
                  <a:pt x="-1614" y="1832597"/>
                  <a:pt x="677" y="1836524"/>
                  <a:pt x="4931" y="1836524"/>
                </a:cubicBezTo>
                <a:cubicBezTo>
                  <a:pt x="9185" y="1836524"/>
                  <a:pt x="939567" y="1836524"/>
                  <a:pt x="941203" y="1836524"/>
                </a:cubicBezTo>
                <a:cubicBezTo>
                  <a:pt x="1246203" y="1826379"/>
                  <a:pt x="1432083" y="1732130"/>
                  <a:pt x="1595710" y="1577994"/>
                </a:cubicBezTo>
                <a:cubicBezTo>
                  <a:pt x="1960269" y="1228815"/>
                  <a:pt x="1972705" y="650231"/>
                  <a:pt x="1623527" y="285671"/>
                </a:cubicBezTo>
                <a:cubicBezTo>
                  <a:pt x="1614461" y="276214"/>
                  <a:pt x="1605167" y="266920"/>
                  <a:pt x="1595710" y="257855"/>
                </a:cubicBezTo>
              </a:path>
            </a:pathLst>
          </a:custGeom>
          <a:solidFill>
            <a:schemeClr val="tx2"/>
          </a:solidFill>
          <a:ln w="32716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0882E4B2-0D21-4D7C-A9B6-8BC28BC94388}"/>
              </a:ext>
            </a:extLst>
          </p:cNvPr>
          <p:cNvSpPr/>
          <p:nvPr/>
        </p:nvSpPr>
        <p:spPr>
          <a:xfrm>
            <a:off x="1236174" y="1884569"/>
            <a:ext cx="2635372" cy="1672799"/>
          </a:xfrm>
          <a:custGeom>
            <a:avLst/>
            <a:gdLst>
              <a:gd name="connsiteX0" fmla="*/ 53651 w 2635372"/>
              <a:gd name="connsiteY0" fmla="*/ 779050 h 1672799"/>
              <a:gd name="connsiteX1" fmla="*/ 124992 w 2635372"/>
              <a:gd name="connsiteY1" fmla="*/ 1632853 h 1672799"/>
              <a:gd name="connsiteX2" fmla="*/ 143646 w 2635372"/>
              <a:gd name="connsiteY2" fmla="*/ 1672451 h 1672799"/>
              <a:gd name="connsiteX3" fmla="*/ 2627499 w 2635372"/>
              <a:gd name="connsiteY3" fmla="*/ 1672451 h 1672799"/>
              <a:gd name="connsiteX4" fmla="*/ 2634371 w 2635372"/>
              <a:gd name="connsiteY4" fmla="*/ 1662961 h 1672799"/>
              <a:gd name="connsiteX5" fmla="*/ 2130401 w 2635372"/>
              <a:gd name="connsiteY5" fmla="*/ 640949 h 1672799"/>
              <a:gd name="connsiteX6" fmla="*/ 1494548 w 2635372"/>
              <a:gd name="connsiteY6" fmla="*/ 66292 h 1672799"/>
              <a:gd name="connsiteX7" fmla="*/ 69785 w 2635372"/>
              <a:gd name="connsiteY7" fmla="*/ 734183 h 1672799"/>
              <a:gd name="connsiteX8" fmla="*/ 54633 w 2635372"/>
              <a:gd name="connsiteY8" fmla="*/ 779050 h 167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5372" h="1672799">
                <a:moveTo>
                  <a:pt x="53651" y="779050"/>
                </a:moveTo>
                <a:cubicBezTo>
                  <a:pt x="-26198" y="1040852"/>
                  <a:pt x="-28817" y="1294801"/>
                  <a:pt x="124992" y="1632853"/>
                </a:cubicBezTo>
                <a:cubicBezTo>
                  <a:pt x="124992" y="1632853"/>
                  <a:pt x="131864" y="1648562"/>
                  <a:pt x="143646" y="1672451"/>
                </a:cubicBezTo>
                <a:lnTo>
                  <a:pt x="2627499" y="1672451"/>
                </a:lnTo>
                <a:cubicBezTo>
                  <a:pt x="2633717" y="1672451"/>
                  <a:pt x="2636662" y="1667214"/>
                  <a:pt x="2634371" y="1662961"/>
                </a:cubicBezTo>
                <a:cubicBezTo>
                  <a:pt x="2632080" y="1658707"/>
                  <a:pt x="2130401" y="642258"/>
                  <a:pt x="2130401" y="640949"/>
                </a:cubicBezTo>
                <a:cubicBezTo>
                  <a:pt x="1954666" y="313695"/>
                  <a:pt x="1751769" y="161849"/>
                  <a:pt x="1494548" y="66292"/>
                </a:cubicBezTo>
                <a:cubicBezTo>
                  <a:pt x="916684" y="-142724"/>
                  <a:pt x="278801" y="156320"/>
                  <a:pt x="69785" y="734183"/>
                </a:cubicBezTo>
                <a:cubicBezTo>
                  <a:pt x="64418" y="749041"/>
                  <a:pt x="59378" y="763996"/>
                  <a:pt x="54633" y="779050"/>
                </a:cubicBezTo>
              </a:path>
            </a:pathLst>
          </a:custGeom>
          <a:solidFill>
            <a:schemeClr val="tx2"/>
          </a:solidFill>
          <a:ln w="32716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grpSp>
        <p:nvGrpSpPr>
          <p:cNvPr id="99" name="Grupp 98">
            <a:extLst>
              <a:ext uri="{FF2B5EF4-FFF2-40B4-BE49-F238E27FC236}">
                <a16:creationId xmlns:a16="http://schemas.microsoft.com/office/drawing/2014/main" id="{8020462E-DD85-4C6F-9A13-E48319E593D5}"/>
              </a:ext>
            </a:extLst>
          </p:cNvPr>
          <p:cNvGrpSpPr/>
          <p:nvPr userDrawn="1"/>
        </p:nvGrpSpPr>
        <p:grpSpPr>
          <a:xfrm>
            <a:off x="1655595" y="1712626"/>
            <a:ext cx="3698618" cy="3704233"/>
            <a:chOff x="1655595" y="1712626"/>
            <a:chExt cx="3698618" cy="3704233"/>
          </a:xfrm>
        </p:grpSpPr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77A846EF-C4C0-423A-A969-37CD3793AC88}"/>
                </a:ext>
              </a:extLst>
            </p:cNvPr>
            <p:cNvSpPr/>
            <p:nvPr/>
          </p:nvSpPr>
          <p:spPr>
            <a:xfrm>
              <a:off x="1860782" y="2307262"/>
              <a:ext cx="192197" cy="249693"/>
            </a:xfrm>
            <a:custGeom>
              <a:avLst/>
              <a:gdLst>
                <a:gd name="connsiteX0" fmla="*/ 175181 w 192197"/>
                <a:gd name="connsiteY0" fmla="*/ 249345 h 249693"/>
                <a:gd name="connsiteX1" fmla="*/ 161109 w 192197"/>
                <a:gd name="connsiteY1" fmla="*/ 238218 h 249693"/>
                <a:gd name="connsiteX2" fmla="*/ 144092 w 192197"/>
                <a:gd name="connsiteY2" fmla="*/ 172768 h 249693"/>
                <a:gd name="connsiteX3" fmla="*/ 65879 w 192197"/>
                <a:gd name="connsiteY3" fmla="*/ 172768 h 249693"/>
                <a:gd name="connsiteX4" fmla="*/ 33153 w 192197"/>
                <a:gd name="connsiteY4" fmla="*/ 235273 h 249693"/>
                <a:gd name="connsiteX5" fmla="*/ 14172 w 192197"/>
                <a:gd name="connsiteY5" fmla="*/ 249018 h 249693"/>
                <a:gd name="connsiteX6" fmla="*/ -227 w 192197"/>
                <a:gd name="connsiteY6" fmla="*/ 235960 h 249693"/>
                <a:gd name="connsiteX7" fmla="*/ -227 w 192197"/>
                <a:gd name="connsiteY7" fmla="*/ 234946 h 249693"/>
                <a:gd name="connsiteX8" fmla="*/ 1737 w 192197"/>
                <a:gd name="connsiteY8" fmla="*/ 225128 h 249693"/>
                <a:gd name="connsiteX9" fmla="*/ 108094 w 192197"/>
                <a:gd name="connsiteY9" fmla="*/ 10778 h 249693"/>
                <a:gd name="connsiteX10" fmla="*/ 123803 w 192197"/>
                <a:gd name="connsiteY10" fmla="*/ -349 h 249693"/>
                <a:gd name="connsiteX11" fmla="*/ 136565 w 192197"/>
                <a:gd name="connsiteY11" fmla="*/ 11104 h 249693"/>
                <a:gd name="connsiteX12" fmla="*/ 191871 w 192197"/>
                <a:gd name="connsiteY12" fmla="*/ 225456 h 249693"/>
                <a:gd name="connsiteX13" fmla="*/ 191871 w 192197"/>
                <a:gd name="connsiteY13" fmla="*/ 225456 h 249693"/>
                <a:gd name="connsiteX14" fmla="*/ 191871 w 192197"/>
                <a:gd name="connsiteY14" fmla="*/ 230364 h 249693"/>
                <a:gd name="connsiteX15" fmla="*/ 175181 w 192197"/>
                <a:gd name="connsiteY15" fmla="*/ 249345 h 249693"/>
                <a:gd name="connsiteX16" fmla="*/ 116603 w 192197"/>
                <a:gd name="connsiteY16" fmla="*/ 61502 h 249693"/>
                <a:gd name="connsiteX17" fmla="*/ 116603 w 192197"/>
                <a:gd name="connsiteY17" fmla="*/ 61502 h 249693"/>
                <a:gd name="connsiteX18" fmla="*/ 78969 w 192197"/>
                <a:gd name="connsiteY18" fmla="*/ 142661 h 249693"/>
                <a:gd name="connsiteX19" fmla="*/ 136565 w 192197"/>
                <a:gd name="connsiteY19" fmla="*/ 142661 h 24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2197" h="249693">
                  <a:moveTo>
                    <a:pt x="175181" y="249345"/>
                  </a:moveTo>
                  <a:cubicBezTo>
                    <a:pt x="168472" y="249378"/>
                    <a:pt x="162647" y="244764"/>
                    <a:pt x="161109" y="238218"/>
                  </a:cubicBezTo>
                  <a:lnTo>
                    <a:pt x="144092" y="172768"/>
                  </a:lnTo>
                  <a:lnTo>
                    <a:pt x="65879" y="172768"/>
                  </a:lnTo>
                  <a:lnTo>
                    <a:pt x="33153" y="235273"/>
                  </a:lnTo>
                  <a:cubicBezTo>
                    <a:pt x="29553" y="242767"/>
                    <a:pt x="22419" y="247938"/>
                    <a:pt x="14172" y="249018"/>
                  </a:cubicBezTo>
                  <a:cubicBezTo>
                    <a:pt x="6580" y="249378"/>
                    <a:pt x="133" y="243520"/>
                    <a:pt x="-227" y="235960"/>
                  </a:cubicBezTo>
                  <a:cubicBezTo>
                    <a:pt x="-227" y="235601"/>
                    <a:pt x="-227" y="235273"/>
                    <a:pt x="-227" y="234946"/>
                  </a:cubicBezTo>
                  <a:cubicBezTo>
                    <a:pt x="-259" y="231575"/>
                    <a:pt x="395" y="228237"/>
                    <a:pt x="1737" y="225128"/>
                  </a:cubicBezTo>
                  <a:lnTo>
                    <a:pt x="108094" y="10778"/>
                  </a:lnTo>
                  <a:cubicBezTo>
                    <a:pt x="110909" y="4494"/>
                    <a:pt x="116930" y="240"/>
                    <a:pt x="123803" y="-349"/>
                  </a:cubicBezTo>
                  <a:cubicBezTo>
                    <a:pt x="130118" y="240"/>
                    <a:pt x="135289" y="4887"/>
                    <a:pt x="136565" y="11104"/>
                  </a:cubicBezTo>
                  <a:lnTo>
                    <a:pt x="191871" y="225456"/>
                  </a:lnTo>
                  <a:lnTo>
                    <a:pt x="191871" y="225456"/>
                  </a:lnTo>
                  <a:cubicBezTo>
                    <a:pt x="192002" y="227092"/>
                    <a:pt x="192002" y="228729"/>
                    <a:pt x="191871" y="230364"/>
                  </a:cubicBezTo>
                  <a:cubicBezTo>
                    <a:pt x="191544" y="239855"/>
                    <a:pt x="184541" y="247807"/>
                    <a:pt x="175181" y="249345"/>
                  </a:cubicBezTo>
                  <a:close/>
                  <a:moveTo>
                    <a:pt x="116603" y="61502"/>
                  </a:moveTo>
                  <a:lnTo>
                    <a:pt x="116603" y="61502"/>
                  </a:lnTo>
                  <a:lnTo>
                    <a:pt x="78969" y="142661"/>
                  </a:lnTo>
                  <a:lnTo>
                    <a:pt x="136565" y="142661"/>
                  </a:ln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B30DF899-34E3-4E8C-87E6-03B1F715AAC2}"/>
                </a:ext>
              </a:extLst>
            </p:cNvPr>
            <p:cNvSpPr/>
            <p:nvPr/>
          </p:nvSpPr>
          <p:spPr>
            <a:xfrm>
              <a:off x="2073498" y="2307572"/>
              <a:ext cx="59232" cy="249714"/>
            </a:xfrm>
            <a:custGeom>
              <a:avLst/>
              <a:gdLst>
                <a:gd name="connsiteX0" fmla="*/ 32170 w 59232"/>
                <a:gd name="connsiteY0" fmla="*/ 233326 h 249714"/>
                <a:gd name="connsiteX1" fmla="*/ 13844 w 59232"/>
                <a:gd name="connsiteY1" fmla="*/ 249361 h 249714"/>
                <a:gd name="connsiteX2" fmla="*/ -228 w 59232"/>
                <a:gd name="connsiteY2" fmla="*/ 235944 h 249714"/>
                <a:gd name="connsiteX3" fmla="*/ -228 w 59232"/>
                <a:gd name="connsiteY3" fmla="*/ 235290 h 249714"/>
                <a:gd name="connsiteX4" fmla="*/ 26607 w 59232"/>
                <a:gd name="connsiteY4" fmla="*/ 16030 h 249714"/>
                <a:gd name="connsiteX5" fmla="*/ 44606 w 59232"/>
                <a:gd name="connsiteY5" fmla="*/ -333 h 249714"/>
                <a:gd name="connsiteX6" fmla="*/ 59005 w 59232"/>
                <a:gd name="connsiteY6" fmla="*/ 12725 h 249714"/>
                <a:gd name="connsiteX7" fmla="*/ 59005 w 59232"/>
                <a:gd name="connsiteY7" fmla="*/ 13740 h 249714"/>
                <a:gd name="connsiteX8" fmla="*/ 32170 w 59232"/>
                <a:gd name="connsiteY8" fmla="*/ 233326 h 24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32" h="249714">
                  <a:moveTo>
                    <a:pt x="32170" y="233326"/>
                  </a:moveTo>
                  <a:cubicBezTo>
                    <a:pt x="30763" y="242391"/>
                    <a:pt x="23040" y="249166"/>
                    <a:pt x="13844" y="249361"/>
                  </a:cubicBezTo>
                  <a:cubicBezTo>
                    <a:pt x="6252" y="249558"/>
                    <a:pt x="-32" y="243536"/>
                    <a:pt x="-228" y="235944"/>
                  </a:cubicBezTo>
                  <a:cubicBezTo>
                    <a:pt x="-228" y="235715"/>
                    <a:pt x="-228" y="235518"/>
                    <a:pt x="-228" y="235290"/>
                  </a:cubicBezTo>
                  <a:cubicBezTo>
                    <a:pt x="-228" y="235290"/>
                    <a:pt x="-228" y="235290"/>
                    <a:pt x="26607" y="16030"/>
                  </a:cubicBezTo>
                  <a:cubicBezTo>
                    <a:pt x="27851" y="6933"/>
                    <a:pt x="35443" y="60"/>
                    <a:pt x="44606" y="-333"/>
                  </a:cubicBezTo>
                  <a:cubicBezTo>
                    <a:pt x="52198" y="-693"/>
                    <a:pt x="58645" y="5165"/>
                    <a:pt x="59005" y="12725"/>
                  </a:cubicBezTo>
                  <a:cubicBezTo>
                    <a:pt x="59005" y="13084"/>
                    <a:pt x="59005" y="13412"/>
                    <a:pt x="59005" y="13740"/>
                  </a:cubicBezTo>
                  <a:cubicBezTo>
                    <a:pt x="59005" y="13740"/>
                    <a:pt x="58678" y="15375"/>
                    <a:pt x="32170" y="23332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1" name="Frihandsfigur: Form 10">
              <a:extLst>
                <a:ext uri="{FF2B5EF4-FFF2-40B4-BE49-F238E27FC236}">
                  <a16:creationId xmlns:a16="http://schemas.microsoft.com/office/drawing/2014/main" id="{7300402D-0E1F-4CD9-A611-AADC461E4762}"/>
                </a:ext>
              </a:extLst>
            </p:cNvPr>
            <p:cNvSpPr/>
            <p:nvPr/>
          </p:nvSpPr>
          <p:spPr>
            <a:xfrm>
              <a:off x="2145166" y="2307572"/>
              <a:ext cx="59233" cy="249714"/>
            </a:xfrm>
            <a:custGeom>
              <a:avLst/>
              <a:gdLst>
                <a:gd name="connsiteX0" fmla="*/ 32170 w 59233"/>
                <a:gd name="connsiteY0" fmla="*/ 233326 h 249714"/>
                <a:gd name="connsiteX1" fmla="*/ 13844 w 59233"/>
                <a:gd name="connsiteY1" fmla="*/ 249361 h 249714"/>
                <a:gd name="connsiteX2" fmla="*/ -228 w 59233"/>
                <a:gd name="connsiteY2" fmla="*/ 235944 h 249714"/>
                <a:gd name="connsiteX3" fmla="*/ -228 w 59233"/>
                <a:gd name="connsiteY3" fmla="*/ 235290 h 249714"/>
                <a:gd name="connsiteX4" fmla="*/ 26607 w 59233"/>
                <a:gd name="connsiteY4" fmla="*/ 16030 h 249714"/>
                <a:gd name="connsiteX5" fmla="*/ 44606 w 59233"/>
                <a:gd name="connsiteY5" fmla="*/ -333 h 249714"/>
                <a:gd name="connsiteX6" fmla="*/ 59005 w 59233"/>
                <a:gd name="connsiteY6" fmla="*/ 12725 h 249714"/>
                <a:gd name="connsiteX7" fmla="*/ 59005 w 59233"/>
                <a:gd name="connsiteY7" fmla="*/ 13740 h 249714"/>
                <a:gd name="connsiteX8" fmla="*/ 32170 w 59233"/>
                <a:gd name="connsiteY8" fmla="*/ 233326 h 24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33" h="249714">
                  <a:moveTo>
                    <a:pt x="32170" y="233326"/>
                  </a:moveTo>
                  <a:cubicBezTo>
                    <a:pt x="30763" y="242391"/>
                    <a:pt x="23040" y="249166"/>
                    <a:pt x="13844" y="249361"/>
                  </a:cubicBezTo>
                  <a:cubicBezTo>
                    <a:pt x="6252" y="249558"/>
                    <a:pt x="-32" y="243536"/>
                    <a:pt x="-228" y="235944"/>
                  </a:cubicBezTo>
                  <a:cubicBezTo>
                    <a:pt x="-228" y="235715"/>
                    <a:pt x="-228" y="235518"/>
                    <a:pt x="-228" y="235290"/>
                  </a:cubicBezTo>
                  <a:cubicBezTo>
                    <a:pt x="-228" y="235290"/>
                    <a:pt x="-228" y="235290"/>
                    <a:pt x="26607" y="16030"/>
                  </a:cubicBezTo>
                  <a:cubicBezTo>
                    <a:pt x="27851" y="6933"/>
                    <a:pt x="35443" y="60"/>
                    <a:pt x="44606" y="-333"/>
                  </a:cubicBezTo>
                  <a:cubicBezTo>
                    <a:pt x="52198" y="-693"/>
                    <a:pt x="58645" y="5165"/>
                    <a:pt x="59005" y="12725"/>
                  </a:cubicBezTo>
                  <a:cubicBezTo>
                    <a:pt x="59005" y="13084"/>
                    <a:pt x="59005" y="13412"/>
                    <a:pt x="59005" y="13740"/>
                  </a:cubicBezTo>
                  <a:cubicBezTo>
                    <a:pt x="59005" y="13740"/>
                    <a:pt x="58678" y="15375"/>
                    <a:pt x="32170" y="23332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2" name="Frihandsfigur: Form 11">
              <a:extLst>
                <a:ext uri="{FF2B5EF4-FFF2-40B4-BE49-F238E27FC236}">
                  <a16:creationId xmlns:a16="http://schemas.microsoft.com/office/drawing/2014/main" id="{9FE7D1D4-A79B-4E8F-9E76-D87BF4717EBD}"/>
                </a:ext>
              </a:extLst>
            </p:cNvPr>
            <p:cNvSpPr/>
            <p:nvPr/>
          </p:nvSpPr>
          <p:spPr>
            <a:xfrm>
              <a:off x="2209308" y="2345873"/>
              <a:ext cx="102430" cy="209321"/>
            </a:xfrm>
            <a:custGeom>
              <a:avLst/>
              <a:gdLst>
                <a:gd name="connsiteX0" fmla="*/ 102203 w 102430"/>
                <a:gd name="connsiteY0" fmla="*/ 79506 h 209321"/>
                <a:gd name="connsiteX1" fmla="*/ 86166 w 102430"/>
                <a:gd name="connsiteY1" fmla="*/ 93577 h 209321"/>
                <a:gd name="connsiteX2" fmla="*/ 62604 w 102430"/>
                <a:gd name="connsiteY2" fmla="*/ 93577 h 209321"/>
                <a:gd name="connsiteX3" fmla="*/ 56060 w 102430"/>
                <a:gd name="connsiteY3" fmla="*/ 148556 h 209321"/>
                <a:gd name="connsiteX4" fmla="*/ 56060 w 102430"/>
                <a:gd name="connsiteY4" fmla="*/ 156737 h 209321"/>
                <a:gd name="connsiteX5" fmla="*/ 74713 w 102430"/>
                <a:gd name="connsiteY5" fmla="*/ 180299 h 209321"/>
                <a:gd name="connsiteX6" fmla="*/ 80276 w 102430"/>
                <a:gd name="connsiteY6" fmla="*/ 180299 h 209321"/>
                <a:gd name="connsiteX7" fmla="*/ 93007 w 102430"/>
                <a:gd name="connsiteY7" fmla="*/ 191033 h 209321"/>
                <a:gd name="connsiteX8" fmla="*/ 93040 w 102430"/>
                <a:gd name="connsiteY8" fmla="*/ 192735 h 209321"/>
                <a:gd name="connsiteX9" fmla="*/ 66205 w 102430"/>
                <a:gd name="connsiteY9" fmla="*/ 208770 h 209321"/>
                <a:gd name="connsiteX10" fmla="*/ 22843 w 102430"/>
                <a:gd name="connsiteY10" fmla="*/ 173329 h 209321"/>
                <a:gd name="connsiteX11" fmla="*/ 22679 w 102430"/>
                <a:gd name="connsiteY11" fmla="*/ 167537 h 209321"/>
                <a:gd name="connsiteX12" fmla="*/ 22679 w 102430"/>
                <a:gd name="connsiteY12" fmla="*/ 154447 h 209321"/>
                <a:gd name="connsiteX13" fmla="*/ 30534 w 102430"/>
                <a:gd name="connsiteY13" fmla="*/ 93577 h 209321"/>
                <a:gd name="connsiteX14" fmla="*/ 11880 w 102430"/>
                <a:gd name="connsiteY14" fmla="*/ 93577 h 209321"/>
                <a:gd name="connsiteX15" fmla="*/ -228 w 102430"/>
                <a:gd name="connsiteY15" fmla="*/ 81469 h 209321"/>
                <a:gd name="connsiteX16" fmla="*/ -228 w 102430"/>
                <a:gd name="connsiteY16" fmla="*/ 79506 h 209321"/>
                <a:gd name="connsiteX17" fmla="*/ 32497 w 102430"/>
                <a:gd name="connsiteY17" fmla="*/ 65761 h 209321"/>
                <a:gd name="connsiteX18" fmla="*/ 38388 w 102430"/>
                <a:gd name="connsiteY18" fmla="*/ 15691 h 209321"/>
                <a:gd name="connsiteX19" fmla="*/ 57041 w 102430"/>
                <a:gd name="connsiteY19" fmla="*/ -344 h 209321"/>
                <a:gd name="connsiteX20" fmla="*/ 71113 w 102430"/>
                <a:gd name="connsiteY20" fmla="*/ 13073 h 209321"/>
                <a:gd name="connsiteX21" fmla="*/ 71113 w 102430"/>
                <a:gd name="connsiteY21" fmla="*/ 13400 h 209321"/>
                <a:gd name="connsiteX22" fmla="*/ 71113 w 102430"/>
                <a:gd name="connsiteY22" fmla="*/ 15691 h 209321"/>
                <a:gd name="connsiteX23" fmla="*/ 64895 w 102430"/>
                <a:gd name="connsiteY23" fmla="*/ 65761 h 209321"/>
                <a:gd name="connsiteX24" fmla="*/ 88785 w 102430"/>
                <a:gd name="connsiteY24" fmla="*/ 65761 h 209321"/>
                <a:gd name="connsiteX25" fmla="*/ 101547 w 102430"/>
                <a:gd name="connsiteY25" fmla="*/ 78197 h 209321"/>
                <a:gd name="connsiteX26" fmla="*/ 102203 w 102430"/>
                <a:gd name="connsiteY26" fmla="*/ 79506 h 20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2430" h="209321">
                  <a:moveTo>
                    <a:pt x="102203" y="79506"/>
                  </a:moveTo>
                  <a:cubicBezTo>
                    <a:pt x="100827" y="87393"/>
                    <a:pt x="94152" y="93250"/>
                    <a:pt x="86166" y="93577"/>
                  </a:cubicBezTo>
                  <a:lnTo>
                    <a:pt x="62604" y="93577"/>
                  </a:lnTo>
                  <a:lnTo>
                    <a:pt x="56060" y="148556"/>
                  </a:lnTo>
                  <a:cubicBezTo>
                    <a:pt x="55732" y="151272"/>
                    <a:pt x="55732" y="154022"/>
                    <a:pt x="56060" y="156737"/>
                  </a:cubicBezTo>
                  <a:cubicBezTo>
                    <a:pt x="56060" y="169500"/>
                    <a:pt x="60641" y="180299"/>
                    <a:pt x="74713" y="180299"/>
                  </a:cubicBezTo>
                  <a:lnTo>
                    <a:pt x="80276" y="180299"/>
                  </a:lnTo>
                  <a:cubicBezTo>
                    <a:pt x="86756" y="179743"/>
                    <a:pt x="92450" y="184554"/>
                    <a:pt x="93007" y="191033"/>
                  </a:cubicBezTo>
                  <a:cubicBezTo>
                    <a:pt x="93071" y="191590"/>
                    <a:pt x="93071" y="192179"/>
                    <a:pt x="93040" y="192735"/>
                  </a:cubicBezTo>
                  <a:cubicBezTo>
                    <a:pt x="93040" y="206480"/>
                    <a:pt x="77331" y="208770"/>
                    <a:pt x="66205" y="208770"/>
                  </a:cubicBezTo>
                  <a:cubicBezTo>
                    <a:pt x="44442" y="210963"/>
                    <a:pt x="25036" y="195091"/>
                    <a:pt x="22843" y="173329"/>
                  </a:cubicBezTo>
                  <a:cubicBezTo>
                    <a:pt x="22647" y="171398"/>
                    <a:pt x="22581" y="169468"/>
                    <a:pt x="22679" y="167537"/>
                  </a:cubicBezTo>
                  <a:cubicBezTo>
                    <a:pt x="22679" y="162955"/>
                    <a:pt x="22679" y="158046"/>
                    <a:pt x="22679" y="154447"/>
                  </a:cubicBezTo>
                  <a:lnTo>
                    <a:pt x="30534" y="93577"/>
                  </a:lnTo>
                  <a:lnTo>
                    <a:pt x="11880" y="93577"/>
                  </a:lnTo>
                  <a:cubicBezTo>
                    <a:pt x="5204" y="93577"/>
                    <a:pt x="-228" y="88146"/>
                    <a:pt x="-228" y="81469"/>
                  </a:cubicBezTo>
                  <a:lnTo>
                    <a:pt x="-228" y="79506"/>
                  </a:lnTo>
                  <a:cubicBezTo>
                    <a:pt x="2390" y="62816"/>
                    <a:pt x="20389" y="65761"/>
                    <a:pt x="32497" y="65761"/>
                  </a:cubicBezTo>
                  <a:lnTo>
                    <a:pt x="38388" y="15691"/>
                  </a:lnTo>
                  <a:cubicBezTo>
                    <a:pt x="39959" y="6561"/>
                    <a:pt x="47780" y="-180"/>
                    <a:pt x="57041" y="-344"/>
                  </a:cubicBezTo>
                  <a:cubicBezTo>
                    <a:pt x="64634" y="-541"/>
                    <a:pt x="70916" y="5481"/>
                    <a:pt x="71113" y="13073"/>
                  </a:cubicBezTo>
                  <a:cubicBezTo>
                    <a:pt x="71113" y="13171"/>
                    <a:pt x="71113" y="13302"/>
                    <a:pt x="71113" y="13400"/>
                  </a:cubicBezTo>
                  <a:cubicBezTo>
                    <a:pt x="71113" y="13400"/>
                    <a:pt x="71113" y="15037"/>
                    <a:pt x="71113" y="15691"/>
                  </a:cubicBezTo>
                  <a:lnTo>
                    <a:pt x="64895" y="65761"/>
                  </a:lnTo>
                  <a:lnTo>
                    <a:pt x="88785" y="65761"/>
                  </a:lnTo>
                  <a:cubicBezTo>
                    <a:pt x="95723" y="65761"/>
                    <a:pt x="101384" y="71292"/>
                    <a:pt x="101547" y="78197"/>
                  </a:cubicBezTo>
                  <a:cubicBezTo>
                    <a:pt x="101547" y="78197"/>
                    <a:pt x="102203" y="78851"/>
                    <a:pt x="102203" y="7950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BD4F6624-DBB8-4CA6-8E87-9D075716FC97}"/>
                </a:ext>
              </a:extLst>
            </p:cNvPr>
            <p:cNvSpPr/>
            <p:nvPr/>
          </p:nvSpPr>
          <p:spPr>
            <a:xfrm>
              <a:off x="2380099" y="2308243"/>
              <a:ext cx="113264" cy="249055"/>
            </a:xfrm>
            <a:custGeom>
              <a:avLst/>
              <a:gdLst>
                <a:gd name="connsiteX0" fmla="*/ 112382 w 113264"/>
                <a:gd name="connsiteY0" fmla="*/ 14705 h 249055"/>
                <a:gd name="connsiteX1" fmla="*/ 96674 w 113264"/>
                <a:gd name="connsiteY1" fmla="*/ 28450 h 249055"/>
                <a:gd name="connsiteX2" fmla="*/ 81620 w 113264"/>
                <a:gd name="connsiteY2" fmla="*/ 30740 h 249055"/>
                <a:gd name="connsiteX3" fmla="*/ 71802 w 113264"/>
                <a:gd name="connsiteY3" fmla="*/ 55611 h 249055"/>
                <a:gd name="connsiteX4" fmla="*/ 65912 w 113264"/>
                <a:gd name="connsiteY4" fmla="*/ 103390 h 249055"/>
                <a:gd name="connsiteX5" fmla="*/ 88492 w 113264"/>
                <a:gd name="connsiteY5" fmla="*/ 103390 h 249055"/>
                <a:gd name="connsiteX6" fmla="*/ 100928 w 113264"/>
                <a:gd name="connsiteY6" fmla="*/ 115172 h 249055"/>
                <a:gd name="connsiteX7" fmla="*/ 100928 w 113264"/>
                <a:gd name="connsiteY7" fmla="*/ 115826 h 249055"/>
                <a:gd name="connsiteX8" fmla="*/ 84893 w 113264"/>
                <a:gd name="connsiteY8" fmla="*/ 131207 h 249055"/>
                <a:gd name="connsiteX9" fmla="*/ 62639 w 113264"/>
                <a:gd name="connsiteY9" fmla="*/ 131207 h 249055"/>
                <a:gd name="connsiteX10" fmla="*/ 49877 w 113264"/>
                <a:gd name="connsiteY10" fmla="*/ 232983 h 249055"/>
                <a:gd name="connsiteX11" fmla="*/ 31877 w 113264"/>
                <a:gd name="connsiteY11" fmla="*/ 248691 h 249055"/>
                <a:gd name="connsiteX12" fmla="*/ 17806 w 113264"/>
                <a:gd name="connsiteY12" fmla="*/ 235960 h 249055"/>
                <a:gd name="connsiteX13" fmla="*/ 17806 w 113264"/>
                <a:gd name="connsiteY13" fmla="*/ 234946 h 249055"/>
                <a:gd name="connsiteX14" fmla="*/ 30241 w 113264"/>
                <a:gd name="connsiteY14" fmla="*/ 131207 h 249055"/>
                <a:gd name="connsiteX15" fmla="*/ 12243 w 113264"/>
                <a:gd name="connsiteY15" fmla="*/ 131207 h 249055"/>
                <a:gd name="connsiteX16" fmla="*/ -193 w 113264"/>
                <a:gd name="connsiteY16" fmla="*/ 119426 h 249055"/>
                <a:gd name="connsiteX17" fmla="*/ -193 w 113264"/>
                <a:gd name="connsiteY17" fmla="*/ 119099 h 249055"/>
                <a:gd name="connsiteX18" fmla="*/ 13519 w 113264"/>
                <a:gd name="connsiteY18" fmla="*/ 103423 h 249055"/>
                <a:gd name="connsiteX19" fmla="*/ 14206 w 113264"/>
                <a:gd name="connsiteY19" fmla="*/ 103390 h 249055"/>
                <a:gd name="connsiteX20" fmla="*/ 33514 w 113264"/>
                <a:gd name="connsiteY20" fmla="*/ 103390 h 249055"/>
                <a:gd name="connsiteX21" fmla="*/ 39732 w 113264"/>
                <a:gd name="connsiteY21" fmla="*/ 53320 h 249055"/>
                <a:gd name="connsiteX22" fmla="*/ 93729 w 113264"/>
                <a:gd name="connsiteY22" fmla="*/ -349 h 249055"/>
                <a:gd name="connsiteX23" fmla="*/ 113036 w 113264"/>
                <a:gd name="connsiteY23" fmla="*/ 12741 h 249055"/>
                <a:gd name="connsiteX24" fmla="*/ 112382 w 113264"/>
                <a:gd name="connsiteY24" fmla="*/ 14705 h 24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3264" h="249055">
                  <a:moveTo>
                    <a:pt x="112382" y="14705"/>
                  </a:moveTo>
                  <a:cubicBezTo>
                    <a:pt x="111139" y="22461"/>
                    <a:pt x="104528" y="28220"/>
                    <a:pt x="96674" y="28450"/>
                  </a:cubicBezTo>
                  <a:cubicBezTo>
                    <a:pt x="91536" y="28155"/>
                    <a:pt x="86431" y="28940"/>
                    <a:pt x="81620" y="30740"/>
                  </a:cubicBezTo>
                  <a:cubicBezTo>
                    <a:pt x="74944" y="37252"/>
                    <a:pt x="71377" y="46317"/>
                    <a:pt x="71802" y="55611"/>
                  </a:cubicBezTo>
                  <a:lnTo>
                    <a:pt x="65912" y="103390"/>
                  </a:lnTo>
                  <a:lnTo>
                    <a:pt x="88492" y="103390"/>
                  </a:lnTo>
                  <a:cubicBezTo>
                    <a:pt x="95169" y="103194"/>
                    <a:pt x="100731" y="108462"/>
                    <a:pt x="100928" y="115172"/>
                  </a:cubicBezTo>
                  <a:cubicBezTo>
                    <a:pt x="100928" y="115367"/>
                    <a:pt x="100928" y="115597"/>
                    <a:pt x="100928" y="115826"/>
                  </a:cubicBezTo>
                  <a:cubicBezTo>
                    <a:pt x="100568" y="124433"/>
                    <a:pt x="93500" y="131207"/>
                    <a:pt x="84893" y="131207"/>
                  </a:cubicBezTo>
                  <a:lnTo>
                    <a:pt x="62639" y="131207"/>
                  </a:lnTo>
                  <a:lnTo>
                    <a:pt x="49877" y="232983"/>
                  </a:lnTo>
                  <a:cubicBezTo>
                    <a:pt x="48470" y="241883"/>
                    <a:pt x="40878" y="248495"/>
                    <a:pt x="31877" y="248691"/>
                  </a:cubicBezTo>
                  <a:cubicBezTo>
                    <a:pt x="24482" y="249051"/>
                    <a:pt x="18166" y="243356"/>
                    <a:pt x="17806" y="235960"/>
                  </a:cubicBezTo>
                  <a:cubicBezTo>
                    <a:pt x="17806" y="235601"/>
                    <a:pt x="17806" y="235273"/>
                    <a:pt x="17806" y="234946"/>
                  </a:cubicBezTo>
                  <a:cubicBezTo>
                    <a:pt x="17806" y="234946"/>
                    <a:pt x="17806" y="234946"/>
                    <a:pt x="30241" y="131207"/>
                  </a:cubicBezTo>
                  <a:lnTo>
                    <a:pt x="12243" y="131207"/>
                  </a:lnTo>
                  <a:cubicBezTo>
                    <a:pt x="5567" y="131403"/>
                    <a:pt x="3" y="126101"/>
                    <a:pt x="-193" y="119426"/>
                  </a:cubicBezTo>
                  <a:cubicBezTo>
                    <a:pt x="-193" y="119327"/>
                    <a:pt x="-193" y="119196"/>
                    <a:pt x="-193" y="119099"/>
                  </a:cubicBezTo>
                  <a:cubicBezTo>
                    <a:pt x="-749" y="110982"/>
                    <a:pt x="5403" y="103979"/>
                    <a:pt x="13519" y="103423"/>
                  </a:cubicBezTo>
                  <a:cubicBezTo>
                    <a:pt x="13748" y="103390"/>
                    <a:pt x="13977" y="103390"/>
                    <a:pt x="14206" y="103390"/>
                  </a:cubicBezTo>
                  <a:lnTo>
                    <a:pt x="33514" y="103390"/>
                  </a:lnTo>
                  <a:lnTo>
                    <a:pt x="39732" y="53320"/>
                  </a:lnTo>
                  <a:cubicBezTo>
                    <a:pt x="43986" y="20595"/>
                    <a:pt x="58386" y="-349"/>
                    <a:pt x="93729" y="-349"/>
                  </a:cubicBezTo>
                  <a:cubicBezTo>
                    <a:pt x="102892" y="-349"/>
                    <a:pt x="113036" y="-349"/>
                    <a:pt x="113036" y="12741"/>
                  </a:cubicBezTo>
                  <a:cubicBezTo>
                    <a:pt x="113036" y="13395"/>
                    <a:pt x="112382" y="13723"/>
                    <a:pt x="112382" y="1470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8EC2732D-D0E1-40CE-8B99-8FCCE6299C45}"/>
                </a:ext>
              </a:extLst>
            </p:cNvPr>
            <p:cNvSpPr/>
            <p:nvPr/>
          </p:nvSpPr>
          <p:spPr>
            <a:xfrm>
              <a:off x="2477588" y="2337040"/>
              <a:ext cx="160829" cy="220750"/>
            </a:xfrm>
            <a:custGeom>
              <a:avLst/>
              <a:gdLst>
                <a:gd name="connsiteX0" fmla="*/ 70854 w 160829"/>
                <a:gd name="connsiteY0" fmla="*/ 219894 h 220750"/>
                <a:gd name="connsiteX1" fmla="*/ 265 w 160829"/>
                <a:gd name="connsiteY1" fmla="*/ 165145 h 220750"/>
                <a:gd name="connsiteX2" fmla="*/ -160 w 160829"/>
                <a:gd name="connsiteY2" fmla="*/ 154444 h 220750"/>
                <a:gd name="connsiteX3" fmla="*/ 82472 w 160829"/>
                <a:gd name="connsiteY3" fmla="*/ 65071 h 220750"/>
                <a:gd name="connsiteX4" fmla="*/ 89834 w 160829"/>
                <a:gd name="connsiteY4" fmla="*/ 65104 h 220750"/>
                <a:gd name="connsiteX5" fmla="*/ 160162 w 160829"/>
                <a:gd name="connsiteY5" fmla="*/ 120933 h 220750"/>
                <a:gd name="connsiteX6" fmla="*/ 160521 w 160829"/>
                <a:gd name="connsiteY6" fmla="*/ 130555 h 220750"/>
                <a:gd name="connsiteX7" fmla="*/ 78544 w 160829"/>
                <a:gd name="connsiteY7" fmla="*/ 219894 h 220750"/>
                <a:gd name="connsiteX8" fmla="*/ 70854 w 160829"/>
                <a:gd name="connsiteY8" fmla="*/ 219894 h 220750"/>
                <a:gd name="connsiteX9" fmla="*/ 86235 w 160829"/>
                <a:gd name="connsiteY9" fmla="*/ 92920 h 220750"/>
                <a:gd name="connsiteX10" fmla="*/ 32762 w 160829"/>
                <a:gd name="connsiteY10" fmla="*/ 148717 h 220750"/>
                <a:gd name="connsiteX11" fmla="*/ 32892 w 160829"/>
                <a:gd name="connsiteY11" fmla="*/ 151498 h 220750"/>
                <a:gd name="connsiteX12" fmla="*/ 67974 w 160829"/>
                <a:gd name="connsiteY12" fmla="*/ 193354 h 220750"/>
                <a:gd name="connsiteX13" fmla="*/ 74127 w 160829"/>
                <a:gd name="connsiteY13" fmla="*/ 193387 h 220750"/>
                <a:gd name="connsiteX14" fmla="*/ 126585 w 160829"/>
                <a:gd name="connsiteY14" fmla="*/ 136020 h 220750"/>
                <a:gd name="connsiteX15" fmla="*/ 126487 w 160829"/>
                <a:gd name="connsiteY15" fmla="*/ 134154 h 220750"/>
                <a:gd name="connsiteX16" fmla="*/ 89278 w 160829"/>
                <a:gd name="connsiteY16" fmla="*/ 92920 h 220750"/>
                <a:gd name="connsiteX17" fmla="*/ 85253 w 160829"/>
                <a:gd name="connsiteY17" fmla="*/ 92920 h 220750"/>
                <a:gd name="connsiteX18" fmla="*/ 63982 w 160829"/>
                <a:gd name="connsiteY18" fmla="*/ 40887 h 220750"/>
                <a:gd name="connsiteX19" fmla="*/ 43692 w 160829"/>
                <a:gd name="connsiteY19" fmla="*/ 19943 h 220750"/>
                <a:gd name="connsiteX20" fmla="*/ 64636 w 160829"/>
                <a:gd name="connsiteY20" fmla="*/ -347 h 220750"/>
                <a:gd name="connsiteX21" fmla="*/ 84926 w 160829"/>
                <a:gd name="connsiteY21" fmla="*/ 20270 h 220750"/>
                <a:gd name="connsiteX22" fmla="*/ 64341 w 160829"/>
                <a:gd name="connsiteY22" fmla="*/ 40920 h 220750"/>
                <a:gd name="connsiteX23" fmla="*/ 63000 w 160829"/>
                <a:gd name="connsiteY23" fmla="*/ 40887 h 220750"/>
                <a:gd name="connsiteX24" fmla="*/ 125832 w 160829"/>
                <a:gd name="connsiteY24" fmla="*/ 40887 h 220750"/>
                <a:gd name="connsiteX25" fmla="*/ 105870 w 160829"/>
                <a:gd name="connsiteY25" fmla="*/ 19615 h 220750"/>
                <a:gd name="connsiteX26" fmla="*/ 127142 w 160829"/>
                <a:gd name="connsiteY26" fmla="*/ -315 h 220750"/>
                <a:gd name="connsiteX27" fmla="*/ 147104 w 160829"/>
                <a:gd name="connsiteY27" fmla="*/ 20270 h 220750"/>
                <a:gd name="connsiteX28" fmla="*/ 126552 w 160829"/>
                <a:gd name="connsiteY28" fmla="*/ 40953 h 220750"/>
                <a:gd name="connsiteX29" fmla="*/ 124851 w 160829"/>
                <a:gd name="connsiteY29" fmla="*/ 40887 h 2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0829" h="220750">
                  <a:moveTo>
                    <a:pt x="70854" y="219894"/>
                  </a:moveTo>
                  <a:cubicBezTo>
                    <a:pt x="36263" y="224280"/>
                    <a:pt x="4650" y="199769"/>
                    <a:pt x="265" y="165145"/>
                  </a:cubicBezTo>
                  <a:cubicBezTo>
                    <a:pt x="-160" y="161610"/>
                    <a:pt x="-323" y="158011"/>
                    <a:pt x="-160" y="154444"/>
                  </a:cubicBezTo>
                  <a:cubicBezTo>
                    <a:pt x="-2025" y="106960"/>
                    <a:pt x="34987" y="66937"/>
                    <a:pt x="82472" y="65071"/>
                  </a:cubicBezTo>
                  <a:cubicBezTo>
                    <a:pt x="84926" y="64972"/>
                    <a:pt x="87380" y="65005"/>
                    <a:pt x="89834" y="65104"/>
                  </a:cubicBezTo>
                  <a:cubicBezTo>
                    <a:pt x="124655" y="61111"/>
                    <a:pt x="156136" y="86114"/>
                    <a:pt x="160162" y="120933"/>
                  </a:cubicBezTo>
                  <a:cubicBezTo>
                    <a:pt x="160521" y="124140"/>
                    <a:pt x="160652" y="127347"/>
                    <a:pt x="160521" y="130555"/>
                  </a:cubicBezTo>
                  <a:cubicBezTo>
                    <a:pt x="162550" y="177875"/>
                    <a:pt x="125865" y="217866"/>
                    <a:pt x="78544" y="219894"/>
                  </a:cubicBezTo>
                  <a:cubicBezTo>
                    <a:pt x="75992" y="220025"/>
                    <a:pt x="73407" y="220025"/>
                    <a:pt x="70854" y="219894"/>
                  </a:cubicBezTo>
                  <a:close/>
                  <a:moveTo>
                    <a:pt x="86235" y="92920"/>
                  </a:moveTo>
                  <a:cubicBezTo>
                    <a:pt x="56062" y="93575"/>
                    <a:pt x="32108" y="118544"/>
                    <a:pt x="32762" y="148717"/>
                  </a:cubicBezTo>
                  <a:cubicBezTo>
                    <a:pt x="32795" y="149666"/>
                    <a:pt x="32828" y="150583"/>
                    <a:pt x="32892" y="151498"/>
                  </a:cubicBezTo>
                  <a:cubicBezTo>
                    <a:pt x="31027" y="172737"/>
                    <a:pt x="46735" y="191489"/>
                    <a:pt x="67974" y="193354"/>
                  </a:cubicBezTo>
                  <a:cubicBezTo>
                    <a:pt x="70036" y="193518"/>
                    <a:pt x="72097" y="193518"/>
                    <a:pt x="74127" y="193387"/>
                  </a:cubicBezTo>
                  <a:cubicBezTo>
                    <a:pt x="104463" y="192046"/>
                    <a:pt x="127960" y="166356"/>
                    <a:pt x="126585" y="136020"/>
                  </a:cubicBezTo>
                  <a:cubicBezTo>
                    <a:pt x="126585" y="135397"/>
                    <a:pt x="126519" y="134776"/>
                    <a:pt x="126487" y="134154"/>
                  </a:cubicBezTo>
                  <a:cubicBezTo>
                    <a:pt x="127600" y="112490"/>
                    <a:pt x="110943" y="94032"/>
                    <a:pt x="89278" y="92920"/>
                  </a:cubicBezTo>
                  <a:cubicBezTo>
                    <a:pt x="87937" y="92855"/>
                    <a:pt x="86594" y="92855"/>
                    <a:pt x="85253" y="92920"/>
                  </a:cubicBezTo>
                  <a:close/>
                  <a:moveTo>
                    <a:pt x="63982" y="40887"/>
                  </a:moveTo>
                  <a:cubicBezTo>
                    <a:pt x="52593" y="40691"/>
                    <a:pt x="43529" y="31331"/>
                    <a:pt x="43692" y="19943"/>
                  </a:cubicBezTo>
                  <a:cubicBezTo>
                    <a:pt x="43888" y="8554"/>
                    <a:pt x="53248" y="-510"/>
                    <a:pt x="64636" y="-347"/>
                  </a:cubicBezTo>
                  <a:cubicBezTo>
                    <a:pt x="75893" y="-151"/>
                    <a:pt x="84926" y="9012"/>
                    <a:pt x="84926" y="20270"/>
                  </a:cubicBezTo>
                  <a:cubicBezTo>
                    <a:pt x="84959" y="31659"/>
                    <a:pt x="75730" y="40920"/>
                    <a:pt x="64341" y="40920"/>
                  </a:cubicBezTo>
                  <a:cubicBezTo>
                    <a:pt x="63916" y="40920"/>
                    <a:pt x="63458" y="40920"/>
                    <a:pt x="63000" y="40887"/>
                  </a:cubicBezTo>
                  <a:close/>
                  <a:moveTo>
                    <a:pt x="125832" y="40887"/>
                  </a:moveTo>
                  <a:cubicBezTo>
                    <a:pt x="114444" y="40527"/>
                    <a:pt x="105510" y="31004"/>
                    <a:pt x="105870" y="19615"/>
                  </a:cubicBezTo>
                  <a:cubicBezTo>
                    <a:pt x="106230" y="8260"/>
                    <a:pt x="115753" y="-674"/>
                    <a:pt x="127142" y="-315"/>
                  </a:cubicBezTo>
                  <a:cubicBezTo>
                    <a:pt x="138268" y="13"/>
                    <a:pt x="147104" y="9143"/>
                    <a:pt x="147104" y="20270"/>
                  </a:cubicBezTo>
                  <a:cubicBezTo>
                    <a:pt x="147137" y="31659"/>
                    <a:pt x="137941" y="40920"/>
                    <a:pt x="126552" y="40953"/>
                  </a:cubicBezTo>
                  <a:cubicBezTo>
                    <a:pt x="125996" y="40953"/>
                    <a:pt x="125407" y="40920"/>
                    <a:pt x="124851" y="40887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E5A10B8E-FD22-44CA-AFCF-CF4257DC00AF}"/>
                </a:ext>
              </a:extLst>
            </p:cNvPr>
            <p:cNvSpPr/>
            <p:nvPr/>
          </p:nvSpPr>
          <p:spPr>
            <a:xfrm>
              <a:off x="2656009" y="2402803"/>
              <a:ext cx="118793" cy="154479"/>
            </a:xfrm>
            <a:custGeom>
              <a:avLst/>
              <a:gdLst>
                <a:gd name="connsiteX0" fmla="*/ 97948 w 118793"/>
                <a:gd name="connsiteY0" fmla="*/ 41883 h 154479"/>
                <a:gd name="connsiteX1" fmla="*/ 75695 w 118793"/>
                <a:gd name="connsiteY1" fmla="*/ 35665 h 154479"/>
                <a:gd name="connsiteX2" fmla="*/ 40025 w 118793"/>
                <a:gd name="connsiteY2" fmla="*/ 72645 h 154479"/>
                <a:gd name="connsiteX3" fmla="*/ 32170 w 118793"/>
                <a:gd name="connsiteY3" fmla="*/ 138095 h 154479"/>
                <a:gd name="connsiteX4" fmla="*/ 13844 w 118793"/>
                <a:gd name="connsiteY4" fmla="*/ 154131 h 154479"/>
                <a:gd name="connsiteX5" fmla="*/ -228 w 118793"/>
                <a:gd name="connsiteY5" fmla="*/ 139731 h 154479"/>
                <a:gd name="connsiteX6" fmla="*/ -228 w 118793"/>
                <a:gd name="connsiteY6" fmla="*/ 138095 h 154479"/>
                <a:gd name="connsiteX7" fmla="*/ 14825 w 118793"/>
                <a:gd name="connsiteY7" fmla="*/ 15703 h 154479"/>
                <a:gd name="connsiteX8" fmla="*/ 32825 w 118793"/>
                <a:gd name="connsiteY8" fmla="*/ -333 h 154479"/>
                <a:gd name="connsiteX9" fmla="*/ 47224 w 118793"/>
                <a:gd name="connsiteY9" fmla="*/ 12725 h 154479"/>
                <a:gd name="connsiteX10" fmla="*/ 47224 w 118793"/>
                <a:gd name="connsiteY10" fmla="*/ 13739 h 154479"/>
                <a:gd name="connsiteX11" fmla="*/ 47224 w 118793"/>
                <a:gd name="connsiteY11" fmla="*/ 25193 h 154479"/>
                <a:gd name="connsiteX12" fmla="*/ 88785 w 118793"/>
                <a:gd name="connsiteY12" fmla="*/ 2940 h 154479"/>
                <a:gd name="connsiteX13" fmla="*/ 118565 w 118793"/>
                <a:gd name="connsiteY13" fmla="*/ 22902 h 154479"/>
                <a:gd name="connsiteX14" fmla="*/ 97948 w 118793"/>
                <a:gd name="connsiteY14" fmla="*/ 41883 h 15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793" h="154479">
                  <a:moveTo>
                    <a:pt x="97948" y="41883"/>
                  </a:moveTo>
                  <a:cubicBezTo>
                    <a:pt x="90749" y="41883"/>
                    <a:pt x="86822" y="35665"/>
                    <a:pt x="75695" y="35665"/>
                  </a:cubicBezTo>
                  <a:cubicBezTo>
                    <a:pt x="56518" y="37923"/>
                    <a:pt x="41596" y="53402"/>
                    <a:pt x="40025" y="72645"/>
                  </a:cubicBezTo>
                  <a:lnTo>
                    <a:pt x="32170" y="138095"/>
                  </a:lnTo>
                  <a:cubicBezTo>
                    <a:pt x="30403" y="146964"/>
                    <a:pt x="22876" y="153574"/>
                    <a:pt x="13844" y="154131"/>
                  </a:cubicBezTo>
                  <a:cubicBezTo>
                    <a:pt x="6023" y="153967"/>
                    <a:pt x="-228" y="147553"/>
                    <a:pt x="-228" y="139731"/>
                  </a:cubicBezTo>
                  <a:lnTo>
                    <a:pt x="-228" y="138095"/>
                  </a:lnTo>
                  <a:lnTo>
                    <a:pt x="14825" y="15703"/>
                  </a:lnTo>
                  <a:cubicBezTo>
                    <a:pt x="16102" y="6671"/>
                    <a:pt x="23727" y="-103"/>
                    <a:pt x="32825" y="-333"/>
                  </a:cubicBezTo>
                  <a:cubicBezTo>
                    <a:pt x="40417" y="-693"/>
                    <a:pt x="46864" y="5165"/>
                    <a:pt x="47224" y="12725"/>
                  </a:cubicBezTo>
                  <a:cubicBezTo>
                    <a:pt x="47224" y="13084"/>
                    <a:pt x="47224" y="13412"/>
                    <a:pt x="47224" y="13739"/>
                  </a:cubicBezTo>
                  <a:cubicBezTo>
                    <a:pt x="47551" y="17536"/>
                    <a:pt x="47551" y="21397"/>
                    <a:pt x="47224" y="25193"/>
                  </a:cubicBezTo>
                  <a:cubicBezTo>
                    <a:pt x="57139" y="12005"/>
                    <a:pt x="72325" y="3888"/>
                    <a:pt x="88785" y="2940"/>
                  </a:cubicBezTo>
                  <a:cubicBezTo>
                    <a:pt x="100893" y="2940"/>
                    <a:pt x="118565" y="8503"/>
                    <a:pt x="118565" y="22902"/>
                  </a:cubicBezTo>
                  <a:cubicBezTo>
                    <a:pt x="118042" y="33799"/>
                    <a:pt x="108846" y="42242"/>
                    <a:pt x="97948" y="4188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93CBCB47-4F9F-4EC5-ACCD-85D48169CD8D}"/>
                </a:ext>
              </a:extLst>
            </p:cNvPr>
            <p:cNvSpPr/>
            <p:nvPr/>
          </p:nvSpPr>
          <p:spPr>
            <a:xfrm>
              <a:off x="1655595" y="2750021"/>
              <a:ext cx="140391" cy="152120"/>
            </a:xfrm>
            <a:custGeom>
              <a:avLst/>
              <a:gdLst>
                <a:gd name="connsiteX0" fmla="*/ 140164 w 140391"/>
                <a:gd name="connsiteY0" fmla="*/ 46462 h 152120"/>
                <a:gd name="connsiteX1" fmla="*/ 129037 w 140391"/>
                <a:gd name="connsiteY1" fmla="*/ 135475 h 152120"/>
                <a:gd name="connsiteX2" fmla="*/ 111038 w 140391"/>
                <a:gd name="connsiteY2" fmla="*/ 151510 h 152120"/>
                <a:gd name="connsiteX3" fmla="*/ 96966 w 140391"/>
                <a:gd name="connsiteY3" fmla="*/ 138780 h 152120"/>
                <a:gd name="connsiteX4" fmla="*/ 96966 w 140391"/>
                <a:gd name="connsiteY4" fmla="*/ 137438 h 152120"/>
                <a:gd name="connsiteX5" fmla="*/ 96966 w 140391"/>
                <a:gd name="connsiteY5" fmla="*/ 135147 h 152120"/>
                <a:gd name="connsiteX6" fmla="*/ 45914 w 140391"/>
                <a:gd name="connsiteY6" fmla="*/ 151510 h 152120"/>
                <a:gd name="connsiteX7" fmla="*/ 1 w 140391"/>
                <a:gd name="connsiteY7" fmla="*/ 114825 h 152120"/>
                <a:gd name="connsiteX8" fmla="*/ -228 w 140391"/>
                <a:gd name="connsiteY8" fmla="*/ 111585 h 152120"/>
                <a:gd name="connsiteX9" fmla="*/ 79294 w 140391"/>
                <a:gd name="connsiteY9" fmla="*/ 52680 h 152120"/>
                <a:gd name="connsiteX10" fmla="*/ 106784 w 140391"/>
                <a:gd name="connsiteY10" fmla="*/ 54971 h 152120"/>
                <a:gd name="connsiteX11" fmla="*/ 106784 w 140391"/>
                <a:gd name="connsiteY11" fmla="*/ 47771 h 152120"/>
                <a:gd name="connsiteX12" fmla="*/ 74058 w 140391"/>
                <a:gd name="connsiteY12" fmla="*/ 26499 h 152120"/>
                <a:gd name="connsiteX13" fmla="*/ 39697 w 140391"/>
                <a:gd name="connsiteY13" fmla="*/ 35662 h 152120"/>
                <a:gd name="connsiteX14" fmla="*/ 33479 w 140391"/>
                <a:gd name="connsiteY14" fmla="*/ 37299 h 152120"/>
                <a:gd name="connsiteX15" fmla="*/ 20716 w 140391"/>
                <a:gd name="connsiteY15" fmla="*/ 24536 h 152120"/>
                <a:gd name="connsiteX16" fmla="*/ 30534 w 140391"/>
                <a:gd name="connsiteY16" fmla="*/ 9810 h 152120"/>
                <a:gd name="connsiteX17" fmla="*/ 84858 w 140391"/>
                <a:gd name="connsiteY17" fmla="*/ -335 h 152120"/>
                <a:gd name="connsiteX18" fmla="*/ 139182 w 140391"/>
                <a:gd name="connsiteY18" fmla="*/ 39262 h 152120"/>
                <a:gd name="connsiteX19" fmla="*/ 140164 w 140391"/>
                <a:gd name="connsiteY19" fmla="*/ 46462 h 152120"/>
                <a:gd name="connsiteX20" fmla="*/ 81913 w 140391"/>
                <a:gd name="connsiteY20" fmla="*/ 75915 h 152120"/>
                <a:gd name="connsiteX21" fmla="*/ 33152 w 140391"/>
                <a:gd name="connsiteY21" fmla="*/ 104059 h 152120"/>
                <a:gd name="connsiteX22" fmla="*/ 57369 w 140391"/>
                <a:gd name="connsiteY22" fmla="*/ 123367 h 152120"/>
                <a:gd name="connsiteX23" fmla="*/ 100239 w 140391"/>
                <a:gd name="connsiteY23" fmla="*/ 110931 h 152120"/>
                <a:gd name="connsiteX24" fmla="*/ 103838 w 140391"/>
                <a:gd name="connsiteY24" fmla="*/ 78206 h 152120"/>
                <a:gd name="connsiteX25" fmla="*/ 81913 w 140391"/>
                <a:gd name="connsiteY25" fmla="*/ 75915 h 15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391" h="152120">
                  <a:moveTo>
                    <a:pt x="140164" y="46462"/>
                  </a:moveTo>
                  <a:lnTo>
                    <a:pt x="129037" y="135475"/>
                  </a:lnTo>
                  <a:cubicBezTo>
                    <a:pt x="127892" y="144572"/>
                    <a:pt x="120201" y="151412"/>
                    <a:pt x="111038" y="151510"/>
                  </a:cubicBezTo>
                  <a:cubicBezTo>
                    <a:pt x="103642" y="151871"/>
                    <a:pt x="97326" y="146176"/>
                    <a:pt x="96966" y="138780"/>
                  </a:cubicBezTo>
                  <a:cubicBezTo>
                    <a:pt x="96933" y="138322"/>
                    <a:pt x="96933" y="137897"/>
                    <a:pt x="96966" y="137438"/>
                  </a:cubicBezTo>
                  <a:lnTo>
                    <a:pt x="96966" y="135147"/>
                  </a:lnTo>
                  <a:cubicBezTo>
                    <a:pt x="81651" y="144933"/>
                    <a:pt x="64077" y="150594"/>
                    <a:pt x="45914" y="151510"/>
                  </a:cubicBezTo>
                  <a:cubicBezTo>
                    <a:pt x="23105" y="154063"/>
                    <a:pt x="2553" y="137635"/>
                    <a:pt x="1" y="114825"/>
                  </a:cubicBezTo>
                  <a:cubicBezTo>
                    <a:pt x="-130" y="113745"/>
                    <a:pt x="-195" y="112666"/>
                    <a:pt x="-228" y="111585"/>
                  </a:cubicBezTo>
                  <a:cubicBezTo>
                    <a:pt x="-228" y="71006"/>
                    <a:pt x="44606" y="52680"/>
                    <a:pt x="79294" y="52680"/>
                  </a:cubicBezTo>
                  <a:cubicBezTo>
                    <a:pt x="88523" y="52647"/>
                    <a:pt x="97719" y="53400"/>
                    <a:pt x="106784" y="54971"/>
                  </a:cubicBezTo>
                  <a:cubicBezTo>
                    <a:pt x="106914" y="52582"/>
                    <a:pt x="106914" y="50160"/>
                    <a:pt x="106784" y="47771"/>
                  </a:cubicBezTo>
                  <a:cubicBezTo>
                    <a:pt x="106784" y="29118"/>
                    <a:pt x="89767" y="26499"/>
                    <a:pt x="74058" y="26499"/>
                  </a:cubicBezTo>
                  <a:cubicBezTo>
                    <a:pt x="62015" y="26729"/>
                    <a:pt x="50234" y="29871"/>
                    <a:pt x="39697" y="35662"/>
                  </a:cubicBezTo>
                  <a:cubicBezTo>
                    <a:pt x="37766" y="36612"/>
                    <a:pt x="35639" y="37168"/>
                    <a:pt x="33479" y="37299"/>
                  </a:cubicBezTo>
                  <a:cubicBezTo>
                    <a:pt x="26443" y="37299"/>
                    <a:pt x="20716" y="31571"/>
                    <a:pt x="20716" y="24536"/>
                  </a:cubicBezTo>
                  <a:cubicBezTo>
                    <a:pt x="20651" y="18089"/>
                    <a:pt x="24545" y="12232"/>
                    <a:pt x="30534" y="9810"/>
                  </a:cubicBezTo>
                  <a:cubicBezTo>
                    <a:pt x="47780" y="2872"/>
                    <a:pt x="66270" y="-597"/>
                    <a:pt x="84858" y="-335"/>
                  </a:cubicBezTo>
                  <a:cubicBezTo>
                    <a:pt x="111365" y="-335"/>
                    <a:pt x="139182" y="7519"/>
                    <a:pt x="139182" y="39262"/>
                  </a:cubicBezTo>
                  <a:cubicBezTo>
                    <a:pt x="139673" y="41618"/>
                    <a:pt x="140000" y="44040"/>
                    <a:pt x="140164" y="46462"/>
                  </a:cubicBezTo>
                  <a:close/>
                  <a:moveTo>
                    <a:pt x="81913" y="75915"/>
                  </a:moveTo>
                  <a:cubicBezTo>
                    <a:pt x="64895" y="75915"/>
                    <a:pt x="33152" y="81805"/>
                    <a:pt x="33152" y="104059"/>
                  </a:cubicBezTo>
                  <a:cubicBezTo>
                    <a:pt x="33152" y="117803"/>
                    <a:pt x="45260" y="123367"/>
                    <a:pt x="57369" y="123367"/>
                  </a:cubicBezTo>
                  <a:cubicBezTo>
                    <a:pt x="72520" y="123105"/>
                    <a:pt x="87312" y="118818"/>
                    <a:pt x="100239" y="110931"/>
                  </a:cubicBezTo>
                  <a:lnTo>
                    <a:pt x="103838" y="78206"/>
                  </a:lnTo>
                  <a:cubicBezTo>
                    <a:pt x="96639" y="76635"/>
                    <a:pt x="89276" y="75850"/>
                    <a:pt x="81913" y="7591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A9893EAC-A8C6-4FB6-A509-2700B1B49D55}"/>
                </a:ext>
              </a:extLst>
            </p:cNvPr>
            <p:cNvSpPr/>
            <p:nvPr/>
          </p:nvSpPr>
          <p:spPr>
            <a:xfrm>
              <a:off x="1814968" y="2690470"/>
              <a:ext cx="101448" cy="209321"/>
            </a:xfrm>
            <a:custGeom>
              <a:avLst/>
              <a:gdLst>
                <a:gd name="connsiteX0" fmla="*/ 99584 w 101448"/>
                <a:gd name="connsiteY0" fmla="*/ 79506 h 209321"/>
                <a:gd name="connsiteX1" fmla="*/ 83876 w 101448"/>
                <a:gd name="connsiteY1" fmla="*/ 93577 h 209321"/>
                <a:gd name="connsiteX2" fmla="*/ 59987 w 101448"/>
                <a:gd name="connsiteY2" fmla="*/ 93577 h 209321"/>
                <a:gd name="connsiteX3" fmla="*/ 53442 w 101448"/>
                <a:gd name="connsiteY3" fmla="*/ 148556 h 209321"/>
                <a:gd name="connsiteX4" fmla="*/ 53442 w 101448"/>
                <a:gd name="connsiteY4" fmla="*/ 156737 h 209321"/>
                <a:gd name="connsiteX5" fmla="*/ 72095 w 101448"/>
                <a:gd name="connsiteY5" fmla="*/ 180299 h 209321"/>
                <a:gd name="connsiteX6" fmla="*/ 78967 w 101448"/>
                <a:gd name="connsiteY6" fmla="*/ 180299 h 209321"/>
                <a:gd name="connsiteX7" fmla="*/ 91698 w 101448"/>
                <a:gd name="connsiteY7" fmla="*/ 191033 h 209321"/>
                <a:gd name="connsiteX8" fmla="*/ 91730 w 101448"/>
                <a:gd name="connsiteY8" fmla="*/ 192735 h 209321"/>
                <a:gd name="connsiteX9" fmla="*/ 64896 w 101448"/>
                <a:gd name="connsiteY9" fmla="*/ 208770 h 209321"/>
                <a:gd name="connsiteX10" fmla="*/ 21534 w 101448"/>
                <a:gd name="connsiteY10" fmla="*/ 173329 h 209321"/>
                <a:gd name="connsiteX11" fmla="*/ 21371 w 101448"/>
                <a:gd name="connsiteY11" fmla="*/ 167537 h 209321"/>
                <a:gd name="connsiteX12" fmla="*/ 21371 w 101448"/>
                <a:gd name="connsiteY12" fmla="*/ 154447 h 209321"/>
                <a:gd name="connsiteX13" fmla="*/ 28898 w 101448"/>
                <a:gd name="connsiteY13" fmla="*/ 93577 h 209321"/>
                <a:gd name="connsiteX14" fmla="*/ 11880 w 101448"/>
                <a:gd name="connsiteY14" fmla="*/ 93577 h 209321"/>
                <a:gd name="connsiteX15" fmla="*/ -228 w 101448"/>
                <a:gd name="connsiteY15" fmla="*/ 82123 h 209321"/>
                <a:gd name="connsiteX16" fmla="*/ -228 w 101448"/>
                <a:gd name="connsiteY16" fmla="*/ 81469 h 209321"/>
                <a:gd name="connsiteX17" fmla="*/ -228 w 101448"/>
                <a:gd name="connsiteY17" fmla="*/ 79506 h 209321"/>
                <a:gd name="connsiteX18" fmla="*/ 32497 w 101448"/>
                <a:gd name="connsiteY18" fmla="*/ 65761 h 209321"/>
                <a:gd name="connsiteX19" fmla="*/ 38388 w 101448"/>
                <a:gd name="connsiteY19" fmla="*/ 16019 h 209321"/>
                <a:gd name="connsiteX20" fmla="*/ 56714 w 101448"/>
                <a:gd name="connsiteY20" fmla="*/ -344 h 209321"/>
                <a:gd name="connsiteX21" fmla="*/ 71113 w 101448"/>
                <a:gd name="connsiteY21" fmla="*/ 13400 h 209321"/>
                <a:gd name="connsiteX22" fmla="*/ 71113 w 101448"/>
                <a:gd name="connsiteY22" fmla="*/ 13400 h 209321"/>
                <a:gd name="connsiteX23" fmla="*/ 71113 w 101448"/>
                <a:gd name="connsiteY23" fmla="*/ 16019 h 209321"/>
                <a:gd name="connsiteX24" fmla="*/ 64896 w 101448"/>
                <a:gd name="connsiteY24" fmla="*/ 65761 h 209321"/>
                <a:gd name="connsiteX25" fmla="*/ 88457 w 101448"/>
                <a:gd name="connsiteY25" fmla="*/ 65761 h 209321"/>
                <a:gd name="connsiteX26" fmla="*/ 101220 w 101448"/>
                <a:gd name="connsiteY26" fmla="*/ 78196 h 209321"/>
                <a:gd name="connsiteX27" fmla="*/ 99584 w 101448"/>
                <a:gd name="connsiteY27" fmla="*/ 79506 h 20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448" h="209321">
                  <a:moveTo>
                    <a:pt x="99584" y="79506"/>
                  </a:moveTo>
                  <a:cubicBezTo>
                    <a:pt x="98471" y="87392"/>
                    <a:pt x="91829" y="93349"/>
                    <a:pt x="83876" y="93577"/>
                  </a:cubicBezTo>
                  <a:lnTo>
                    <a:pt x="59987" y="93577"/>
                  </a:lnTo>
                  <a:lnTo>
                    <a:pt x="53442" y="148556"/>
                  </a:lnTo>
                  <a:cubicBezTo>
                    <a:pt x="53278" y="151272"/>
                    <a:pt x="53278" y="154022"/>
                    <a:pt x="53442" y="156737"/>
                  </a:cubicBezTo>
                  <a:cubicBezTo>
                    <a:pt x="53442" y="169500"/>
                    <a:pt x="58023" y="180299"/>
                    <a:pt x="72095" y="180299"/>
                  </a:cubicBezTo>
                  <a:lnTo>
                    <a:pt x="78967" y="180299"/>
                  </a:lnTo>
                  <a:cubicBezTo>
                    <a:pt x="85447" y="179743"/>
                    <a:pt x="91141" y="184554"/>
                    <a:pt x="91698" y="191033"/>
                  </a:cubicBezTo>
                  <a:cubicBezTo>
                    <a:pt x="91763" y="191590"/>
                    <a:pt x="91763" y="192179"/>
                    <a:pt x="91730" y="192735"/>
                  </a:cubicBezTo>
                  <a:cubicBezTo>
                    <a:pt x="91730" y="206480"/>
                    <a:pt x="75695" y="208770"/>
                    <a:pt x="64896" y="208770"/>
                  </a:cubicBezTo>
                  <a:cubicBezTo>
                    <a:pt x="43133" y="210963"/>
                    <a:pt x="23727" y="195091"/>
                    <a:pt x="21534" y="173329"/>
                  </a:cubicBezTo>
                  <a:cubicBezTo>
                    <a:pt x="21338" y="171398"/>
                    <a:pt x="21273" y="169467"/>
                    <a:pt x="21371" y="167537"/>
                  </a:cubicBezTo>
                  <a:cubicBezTo>
                    <a:pt x="21371" y="162955"/>
                    <a:pt x="21371" y="158046"/>
                    <a:pt x="21371" y="154447"/>
                  </a:cubicBezTo>
                  <a:lnTo>
                    <a:pt x="28898" y="93577"/>
                  </a:lnTo>
                  <a:lnTo>
                    <a:pt x="11880" y="93577"/>
                  </a:lnTo>
                  <a:cubicBezTo>
                    <a:pt x="5368" y="93774"/>
                    <a:pt x="-32" y="88636"/>
                    <a:pt x="-228" y="82123"/>
                  </a:cubicBezTo>
                  <a:cubicBezTo>
                    <a:pt x="-228" y="81928"/>
                    <a:pt x="-228" y="81698"/>
                    <a:pt x="-228" y="81469"/>
                  </a:cubicBezTo>
                  <a:lnTo>
                    <a:pt x="-228" y="79506"/>
                  </a:lnTo>
                  <a:cubicBezTo>
                    <a:pt x="2063" y="62816"/>
                    <a:pt x="20389" y="65761"/>
                    <a:pt x="32497" y="65761"/>
                  </a:cubicBezTo>
                  <a:lnTo>
                    <a:pt x="38388" y="16019"/>
                  </a:lnTo>
                  <a:cubicBezTo>
                    <a:pt x="39664" y="6823"/>
                    <a:pt x="47420" y="-115"/>
                    <a:pt x="56714" y="-344"/>
                  </a:cubicBezTo>
                  <a:cubicBezTo>
                    <a:pt x="64470" y="-541"/>
                    <a:pt x="70917" y="5612"/>
                    <a:pt x="71113" y="13400"/>
                  </a:cubicBezTo>
                  <a:cubicBezTo>
                    <a:pt x="71113" y="13400"/>
                    <a:pt x="71113" y="13400"/>
                    <a:pt x="71113" y="13400"/>
                  </a:cubicBezTo>
                  <a:cubicBezTo>
                    <a:pt x="71113" y="13400"/>
                    <a:pt x="71113" y="15037"/>
                    <a:pt x="71113" y="16019"/>
                  </a:cubicBezTo>
                  <a:lnTo>
                    <a:pt x="64896" y="65761"/>
                  </a:lnTo>
                  <a:lnTo>
                    <a:pt x="88457" y="65761"/>
                  </a:lnTo>
                  <a:cubicBezTo>
                    <a:pt x="95395" y="65761"/>
                    <a:pt x="101057" y="71291"/>
                    <a:pt x="101220" y="78196"/>
                  </a:cubicBezTo>
                  <a:cubicBezTo>
                    <a:pt x="101220" y="78196"/>
                    <a:pt x="99584" y="78851"/>
                    <a:pt x="99584" y="7950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6" name="Frihandsfigur: Form 25">
              <a:extLst>
                <a:ext uri="{FF2B5EF4-FFF2-40B4-BE49-F238E27FC236}">
                  <a16:creationId xmlns:a16="http://schemas.microsoft.com/office/drawing/2014/main" id="{8B2F51D2-84CC-4A20-99CE-5A2C4EBDE4C8}"/>
                </a:ext>
              </a:extLst>
            </p:cNvPr>
            <p:cNvSpPr/>
            <p:nvPr/>
          </p:nvSpPr>
          <p:spPr>
            <a:xfrm>
              <a:off x="1920670" y="2690470"/>
              <a:ext cx="101775" cy="209321"/>
            </a:xfrm>
            <a:custGeom>
              <a:avLst/>
              <a:gdLst>
                <a:gd name="connsiteX0" fmla="*/ 101548 w 101775"/>
                <a:gd name="connsiteY0" fmla="*/ 79506 h 209321"/>
                <a:gd name="connsiteX1" fmla="*/ 85512 w 101775"/>
                <a:gd name="connsiteY1" fmla="*/ 93577 h 209321"/>
                <a:gd name="connsiteX2" fmla="*/ 61951 w 101775"/>
                <a:gd name="connsiteY2" fmla="*/ 93577 h 209321"/>
                <a:gd name="connsiteX3" fmla="*/ 55405 w 101775"/>
                <a:gd name="connsiteY3" fmla="*/ 148556 h 209321"/>
                <a:gd name="connsiteX4" fmla="*/ 55405 w 101775"/>
                <a:gd name="connsiteY4" fmla="*/ 156737 h 209321"/>
                <a:gd name="connsiteX5" fmla="*/ 73732 w 101775"/>
                <a:gd name="connsiteY5" fmla="*/ 180299 h 209321"/>
                <a:gd name="connsiteX6" fmla="*/ 79295 w 101775"/>
                <a:gd name="connsiteY6" fmla="*/ 180299 h 209321"/>
                <a:gd name="connsiteX7" fmla="*/ 92025 w 101775"/>
                <a:gd name="connsiteY7" fmla="*/ 191033 h 209321"/>
                <a:gd name="connsiteX8" fmla="*/ 92058 w 101775"/>
                <a:gd name="connsiteY8" fmla="*/ 192735 h 209321"/>
                <a:gd name="connsiteX9" fmla="*/ 65223 w 101775"/>
                <a:gd name="connsiteY9" fmla="*/ 208770 h 209321"/>
                <a:gd name="connsiteX10" fmla="*/ 21862 w 101775"/>
                <a:gd name="connsiteY10" fmla="*/ 173329 h 209321"/>
                <a:gd name="connsiteX11" fmla="*/ 21698 w 101775"/>
                <a:gd name="connsiteY11" fmla="*/ 167537 h 209321"/>
                <a:gd name="connsiteX12" fmla="*/ 21698 w 101775"/>
                <a:gd name="connsiteY12" fmla="*/ 154447 h 209321"/>
                <a:gd name="connsiteX13" fmla="*/ 29225 w 101775"/>
                <a:gd name="connsiteY13" fmla="*/ 93577 h 209321"/>
                <a:gd name="connsiteX14" fmla="*/ 11880 w 101775"/>
                <a:gd name="connsiteY14" fmla="*/ 93577 h 209321"/>
                <a:gd name="connsiteX15" fmla="*/ -228 w 101775"/>
                <a:gd name="connsiteY15" fmla="*/ 82123 h 209321"/>
                <a:gd name="connsiteX16" fmla="*/ -228 w 101775"/>
                <a:gd name="connsiteY16" fmla="*/ 81469 h 209321"/>
                <a:gd name="connsiteX17" fmla="*/ -228 w 101775"/>
                <a:gd name="connsiteY17" fmla="*/ 79506 h 209321"/>
                <a:gd name="connsiteX18" fmla="*/ 32497 w 101775"/>
                <a:gd name="connsiteY18" fmla="*/ 65761 h 209321"/>
                <a:gd name="connsiteX19" fmla="*/ 38388 w 101775"/>
                <a:gd name="connsiteY19" fmla="*/ 16019 h 209321"/>
                <a:gd name="connsiteX20" fmla="*/ 57041 w 101775"/>
                <a:gd name="connsiteY20" fmla="*/ -344 h 209321"/>
                <a:gd name="connsiteX21" fmla="*/ 71114 w 101775"/>
                <a:gd name="connsiteY21" fmla="*/ 13073 h 209321"/>
                <a:gd name="connsiteX22" fmla="*/ 71114 w 101775"/>
                <a:gd name="connsiteY22" fmla="*/ 13400 h 209321"/>
                <a:gd name="connsiteX23" fmla="*/ 71114 w 101775"/>
                <a:gd name="connsiteY23" fmla="*/ 16019 h 209321"/>
                <a:gd name="connsiteX24" fmla="*/ 64896 w 101775"/>
                <a:gd name="connsiteY24" fmla="*/ 65761 h 209321"/>
                <a:gd name="connsiteX25" fmla="*/ 88785 w 101775"/>
                <a:gd name="connsiteY25" fmla="*/ 65761 h 209321"/>
                <a:gd name="connsiteX26" fmla="*/ 101548 w 101775"/>
                <a:gd name="connsiteY26" fmla="*/ 78197 h 209321"/>
                <a:gd name="connsiteX27" fmla="*/ 101548 w 101775"/>
                <a:gd name="connsiteY27" fmla="*/ 79506 h 20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775" h="209321">
                  <a:moveTo>
                    <a:pt x="101548" y="79506"/>
                  </a:moveTo>
                  <a:cubicBezTo>
                    <a:pt x="100305" y="87457"/>
                    <a:pt x="93563" y="93349"/>
                    <a:pt x="85512" y="93577"/>
                  </a:cubicBezTo>
                  <a:lnTo>
                    <a:pt x="61951" y="93577"/>
                  </a:lnTo>
                  <a:lnTo>
                    <a:pt x="55405" y="148556"/>
                  </a:lnTo>
                  <a:cubicBezTo>
                    <a:pt x="55242" y="151272"/>
                    <a:pt x="55242" y="154022"/>
                    <a:pt x="55405" y="156737"/>
                  </a:cubicBezTo>
                  <a:cubicBezTo>
                    <a:pt x="55405" y="169500"/>
                    <a:pt x="59660" y="180299"/>
                    <a:pt x="73732" y="180299"/>
                  </a:cubicBezTo>
                  <a:lnTo>
                    <a:pt x="79295" y="180299"/>
                  </a:lnTo>
                  <a:cubicBezTo>
                    <a:pt x="85774" y="179743"/>
                    <a:pt x="91469" y="184554"/>
                    <a:pt x="92025" y="191033"/>
                  </a:cubicBezTo>
                  <a:cubicBezTo>
                    <a:pt x="92090" y="191590"/>
                    <a:pt x="92090" y="192179"/>
                    <a:pt x="92058" y="192735"/>
                  </a:cubicBezTo>
                  <a:cubicBezTo>
                    <a:pt x="92058" y="206480"/>
                    <a:pt x="76349" y="208770"/>
                    <a:pt x="65223" y="208770"/>
                  </a:cubicBezTo>
                  <a:cubicBezTo>
                    <a:pt x="43461" y="210963"/>
                    <a:pt x="24054" y="195091"/>
                    <a:pt x="21862" y="173329"/>
                  </a:cubicBezTo>
                  <a:cubicBezTo>
                    <a:pt x="21666" y="171398"/>
                    <a:pt x="21600" y="169468"/>
                    <a:pt x="21698" y="167537"/>
                  </a:cubicBezTo>
                  <a:cubicBezTo>
                    <a:pt x="21338" y="163185"/>
                    <a:pt x="21338" y="158799"/>
                    <a:pt x="21698" y="154447"/>
                  </a:cubicBezTo>
                  <a:lnTo>
                    <a:pt x="29225" y="93577"/>
                  </a:lnTo>
                  <a:lnTo>
                    <a:pt x="11880" y="93577"/>
                  </a:lnTo>
                  <a:cubicBezTo>
                    <a:pt x="5368" y="93774"/>
                    <a:pt x="-32" y="88636"/>
                    <a:pt x="-228" y="82123"/>
                  </a:cubicBezTo>
                  <a:cubicBezTo>
                    <a:pt x="-228" y="81928"/>
                    <a:pt x="-228" y="81698"/>
                    <a:pt x="-228" y="81469"/>
                  </a:cubicBezTo>
                  <a:lnTo>
                    <a:pt x="-228" y="79506"/>
                  </a:lnTo>
                  <a:cubicBezTo>
                    <a:pt x="2390" y="62816"/>
                    <a:pt x="20389" y="65761"/>
                    <a:pt x="32497" y="65761"/>
                  </a:cubicBezTo>
                  <a:lnTo>
                    <a:pt x="38388" y="16019"/>
                  </a:lnTo>
                  <a:cubicBezTo>
                    <a:pt x="39828" y="6758"/>
                    <a:pt x="47682" y="-147"/>
                    <a:pt x="57041" y="-344"/>
                  </a:cubicBezTo>
                  <a:cubicBezTo>
                    <a:pt x="64634" y="-541"/>
                    <a:pt x="70917" y="5481"/>
                    <a:pt x="71114" y="13073"/>
                  </a:cubicBezTo>
                  <a:cubicBezTo>
                    <a:pt x="71114" y="13171"/>
                    <a:pt x="71114" y="13302"/>
                    <a:pt x="71114" y="13400"/>
                  </a:cubicBezTo>
                  <a:cubicBezTo>
                    <a:pt x="71114" y="13400"/>
                    <a:pt x="71114" y="15037"/>
                    <a:pt x="71114" y="16019"/>
                  </a:cubicBezTo>
                  <a:lnTo>
                    <a:pt x="64896" y="65761"/>
                  </a:lnTo>
                  <a:lnTo>
                    <a:pt x="88785" y="65761"/>
                  </a:lnTo>
                  <a:cubicBezTo>
                    <a:pt x="95723" y="65761"/>
                    <a:pt x="101384" y="71292"/>
                    <a:pt x="101548" y="78197"/>
                  </a:cubicBezTo>
                  <a:cubicBezTo>
                    <a:pt x="101548" y="78197"/>
                    <a:pt x="101548" y="78851"/>
                    <a:pt x="101548" y="7950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0" name="Frihandsfigur: Form 29">
              <a:extLst>
                <a:ext uri="{FF2B5EF4-FFF2-40B4-BE49-F238E27FC236}">
                  <a16:creationId xmlns:a16="http://schemas.microsoft.com/office/drawing/2014/main" id="{97A6189E-E747-41C4-99FC-A4ED84B8EE82}"/>
                </a:ext>
              </a:extLst>
            </p:cNvPr>
            <p:cNvSpPr/>
            <p:nvPr/>
          </p:nvSpPr>
          <p:spPr>
            <a:xfrm>
              <a:off x="2090345" y="2651204"/>
              <a:ext cx="163796" cy="250676"/>
            </a:xfrm>
            <a:custGeom>
              <a:avLst/>
              <a:gdLst>
                <a:gd name="connsiteX0" fmla="*/ 136734 w 163796"/>
                <a:gd name="connsiteY0" fmla="*/ 235274 h 250676"/>
                <a:gd name="connsiteX1" fmla="*/ 120044 w 163796"/>
                <a:gd name="connsiteY1" fmla="*/ 250327 h 250676"/>
                <a:gd name="connsiteX2" fmla="*/ 106953 w 163796"/>
                <a:gd name="connsiteY2" fmla="*/ 237237 h 250676"/>
                <a:gd name="connsiteX3" fmla="*/ 106953 w 163796"/>
                <a:gd name="connsiteY3" fmla="*/ 231674 h 250676"/>
                <a:gd name="connsiteX4" fmla="*/ 57211 w 163796"/>
                <a:gd name="connsiteY4" fmla="*/ 250001 h 250676"/>
                <a:gd name="connsiteX5" fmla="*/ -222 w 163796"/>
                <a:gd name="connsiteY5" fmla="*/ 190964 h 250676"/>
                <a:gd name="connsiteX6" fmla="*/ -58 w 163796"/>
                <a:gd name="connsiteY6" fmla="*/ 187168 h 250676"/>
                <a:gd name="connsiteX7" fmla="*/ 78810 w 163796"/>
                <a:gd name="connsiteY7" fmla="*/ 99464 h 250676"/>
                <a:gd name="connsiteX8" fmla="*/ 119389 w 163796"/>
                <a:gd name="connsiteY8" fmla="*/ 114190 h 250676"/>
                <a:gd name="connsiteX9" fmla="*/ 131171 w 163796"/>
                <a:gd name="connsiteY9" fmla="*/ 16014 h 250676"/>
                <a:gd name="connsiteX10" fmla="*/ 149169 w 163796"/>
                <a:gd name="connsiteY10" fmla="*/ -349 h 250676"/>
                <a:gd name="connsiteX11" fmla="*/ 163569 w 163796"/>
                <a:gd name="connsiteY11" fmla="*/ 13724 h 250676"/>
                <a:gd name="connsiteX12" fmla="*/ 136734 w 163796"/>
                <a:gd name="connsiteY12" fmla="*/ 235274 h 250676"/>
                <a:gd name="connsiteX13" fmla="*/ 78810 w 163796"/>
                <a:gd name="connsiteY13" fmla="*/ 128589 h 250676"/>
                <a:gd name="connsiteX14" fmla="*/ 32994 w 163796"/>
                <a:gd name="connsiteY14" fmla="*/ 182586 h 250676"/>
                <a:gd name="connsiteX15" fmla="*/ 32994 w 163796"/>
                <a:gd name="connsiteY15" fmla="*/ 182586 h 250676"/>
                <a:gd name="connsiteX16" fmla="*/ 63855 w 163796"/>
                <a:gd name="connsiteY16" fmla="*/ 221300 h 250676"/>
                <a:gd name="connsiteX17" fmla="*/ 68010 w 163796"/>
                <a:gd name="connsiteY17" fmla="*/ 221529 h 250676"/>
                <a:gd name="connsiteX18" fmla="*/ 114578 w 163796"/>
                <a:gd name="connsiteY18" fmla="*/ 168188 h 250676"/>
                <a:gd name="connsiteX19" fmla="*/ 114481 w 163796"/>
                <a:gd name="connsiteY19" fmla="*/ 166878 h 250676"/>
                <a:gd name="connsiteX20" fmla="*/ 83588 w 163796"/>
                <a:gd name="connsiteY20" fmla="*/ 128753 h 250676"/>
                <a:gd name="connsiteX21" fmla="*/ 78810 w 163796"/>
                <a:gd name="connsiteY21" fmla="*/ 128589 h 2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3796" h="250676">
                  <a:moveTo>
                    <a:pt x="136734" y="235274"/>
                  </a:moveTo>
                  <a:cubicBezTo>
                    <a:pt x="135621" y="243717"/>
                    <a:pt x="128552" y="250066"/>
                    <a:pt x="120044" y="250327"/>
                  </a:cubicBezTo>
                  <a:cubicBezTo>
                    <a:pt x="112812" y="250327"/>
                    <a:pt x="106953" y="244470"/>
                    <a:pt x="106953" y="237237"/>
                  </a:cubicBezTo>
                  <a:cubicBezTo>
                    <a:pt x="106953" y="235274"/>
                    <a:pt x="106953" y="233311"/>
                    <a:pt x="106953" y="231674"/>
                  </a:cubicBezTo>
                  <a:cubicBezTo>
                    <a:pt x="93143" y="243619"/>
                    <a:pt x="75472" y="250132"/>
                    <a:pt x="57211" y="250001"/>
                  </a:cubicBezTo>
                  <a:cubicBezTo>
                    <a:pt x="25042" y="249542"/>
                    <a:pt x="-680" y="223133"/>
                    <a:pt x="-222" y="190964"/>
                  </a:cubicBezTo>
                  <a:cubicBezTo>
                    <a:pt x="-222" y="189687"/>
                    <a:pt x="-156" y="188411"/>
                    <a:pt x="-58" y="187168"/>
                  </a:cubicBezTo>
                  <a:cubicBezTo>
                    <a:pt x="-1596" y="141483"/>
                    <a:pt x="33224" y="102769"/>
                    <a:pt x="78810" y="99464"/>
                  </a:cubicBezTo>
                  <a:cubicBezTo>
                    <a:pt x="93831" y="98319"/>
                    <a:pt x="108623" y="103686"/>
                    <a:pt x="119389" y="114190"/>
                  </a:cubicBezTo>
                  <a:lnTo>
                    <a:pt x="131171" y="16014"/>
                  </a:lnTo>
                  <a:cubicBezTo>
                    <a:pt x="132414" y="6917"/>
                    <a:pt x="140006" y="45"/>
                    <a:pt x="149169" y="-349"/>
                  </a:cubicBezTo>
                  <a:cubicBezTo>
                    <a:pt x="156991" y="-349"/>
                    <a:pt x="163405" y="5902"/>
                    <a:pt x="163569" y="13724"/>
                  </a:cubicBezTo>
                  <a:cubicBezTo>
                    <a:pt x="163569" y="13724"/>
                    <a:pt x="163569" y="16342"/>
                    <a:pt x="136734" y="235274"/>
                  </a:cubicBezTo>
                  <a:close/>
                  <a:moveTo>
                    <a:pt x="78810" y="128589"/>
                  </a:moveTo>
                  <a:cubicBezTo>
                    <a:pt x="51255" y="130847"/>
                    <a:pt x="30736" y="155032"/>
                    <a:pt x="32994" y="182586"/>
                  </a:cubicBezTo>
                  <a:cubicBezTo>
                    <a:pt x="32994" y="182586"/>
                    <a:pt x="32994" y="182586"/>
                    <a:pt x="32994" y="182586"/>
                  </a:cubicBezTo>
                  <a:cubicBezTo>
                    <a:pt x="30835" y="201796"/>
                    <a:pt x="44645" y="219140"/>
                    <a:pt x="63855" y="221300"/>
                  </a:cubicBezTo>
                  <a:cubicBezTo>
                    <a:pt x="65229" y="221464"/>
                    <a:pt x="66636" y="221529"/>
                    <a:pt x="68010" y="221529"/>
                  </a:cubicBezTo>
                  <a:cubicBezTo>
                    <a:pt x="95598" y="219664"/>
                    <a:pt x="116444" y="195775"/>
                    <a:pt x="114578" y="168188"/>
                  </a:cubicBezTo>
                  <a:cubicBezTo>
                    <a:pt x="114547" y="167762"/>
                    <a:pt x="114514" y="167304"/>
                    <a:pt x="114481" y="166878"/>
                  </a:cubicBezTo>
                  <a:cubicBezTo>
                    <a:pt x="116477" y="147832"/>
                    <a:pt x="102667" y="130749"/>
                    <a:pt x="83588" y="128753"/>
                  </a:cubicBezTo>
                  <a:cubicBezTo>
                    <a:pt x="82017" y="128589"/>
                    <a:pt x="80414" y="128524"/>
                    <a:pt x="78810" y="12858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4" name="Frihandsfigur: Form 33">
              <a:extLst>
                <a:ext uri="{FF2B5EF4-FFF2-40B4-BE49-F238E27FC236}">
                  <a16:creationId xmlns:a16="http://schemas.microsoft.com/office/drawing/2014/main" id="{878F6757-D555-49CD-934F-FCE0E2805611}"/>
                </a:ext>
              </a:extLst>
            </p:cNvPr>
            <p:cNvSpPr/>
            <p:nvPr/>
          </p:nvSpPr>
          <p:spPr>
            <a:xfrm>
              <a:off x="2265576" y="2748056"/>
              <a:ext cx="141065" cy="154479"/>
            </a:xfrm>
            <a:custGeom>
              <a:avLst/>
              <a:gdLst>
                <a:gd name="connsiteX0" fmla="*/ 127092 w 141065"/>
                <a:gd name="connsiteY0" fmla="*/ 138750 h 154479"/>
                <a:gd name="connsiteX1" fmla="*/ 110403 w 141065"/>
                <a:gd name="connsiteY1" fmla="*/ 154131 h 154479"/>
                <a:gd name="connsiteX2" fmla="*/ 96658 w 141065"/>
                <a:gd name="connsiteY2" fmla="*/ 140386 h 154479"/>
                <a:gd name="connsiteX3" fmla="*/ 96658 w 141065"/>
                <a:gd name="connsiteY3" fmla="*/ 131223 h 154479"/>
                <a:gd name="connsiteX4" fmla="*/ 47570 w 141065"/>
                <a:gd name="connsiteY4" fmla="*/ 152494 h 154479"/>
                <a:gd name="connsiteX5" fmla="*/ 151 w 141065"/>
                <a:gd name="connsiteY5" fmla="*/ 116234 h 154479"/>
                <a:gd name="connsiteX6" fmla="*/ -209 w 141065"/>
                <a:gd name="connsiteY6" fmla="*/ 109297 h 154479"/>
                <a:gd name="connsiteX7" fmla="*/ 10590 w 141065"/>
                <a:gd name="connsiteY7" fmla="*/ 15375 h 154479"/>
                <a:gd name="connsiteX8" fmla="*/ 28916 w 141065"/>
                <a:gd name="connsiteY8" fmla="*/ -333 h 154479"/>
                <a:gd name="connsiteX9" fmla="*/ 42989 w 141065"/>
                <a:gd name="connsiteY9" fmla="*/ 13739 h 154479"/>
                <a:gd name="connsiteX10" fmla="*/ 42989 w 141065"/>
                <a:gd name="connsiteY10" fmla="*/ 15703 h 154479"/>
                <a:gd name="connsiteX11" fmla="*/ 32843 w 141065"/>
                <a:gd name="connsiteY11" fmla="*/ 98498 h 154479"/>
                <a:gd name="connsiteX12" fmla="*/ 58370 w 141065"/>
                <a:gd name="connsiteY12" fmla="*/ 123042 h 154479"/>
                <a:gd name="connsiteX13" fmla="*/ 100585 w 141065"/>
                <a:gd name="connsiteY13" fmla="*/ 84753 h 154479"/>
                <a:gd name="connsiteX14" fmla="*/ 108766 w 141065"/>
                <a:gd name="connsiteY14" fmla="*/ 15703 h 154479"/>
                <a:gd name="connsiteX15" fmla="*/ 126766 w 141065"/>
                <a:gd name="connsiteY15" fmla="*/ -333 h 154479"/>
                <a:gd name="connsiteX16" fmla="*/ 140838 w 141065"/>
                <a:gd name="connsiteY16" fmla="*/ 12397 h 154479"/>
                <a:gd name="connsiteX17" fmla="*/ 140838 w 141065"/>
                <a:gd name="connsiteY17" fmla="*/ 13412 h 154479"/>
                <a:gd name="connsiteX18" fmla="*/ 140838 w 141065"/>
                <a:gd name="connsiteY18" fmla="*/ 15375 h 154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065" h="154479">
                  <a:moveTo>
                    <a:pt x="127092" y="138750"/>
                  </a:moveTo>
                  <a:cubicBezTo>
                    <a:pt x="125882" y="147193"/>
                    <a:pt x="118911" y="153607"/>
                    <a:pt x="110403" y="154131"/>
                  </a:cubicBezTo>
                  <a:cubicBezTo>
                    <a:pt x="102810" y="154131"/>
                    <a:pt x="96658" y="147978"/>
                    <a:pt x="96658" y="140386"/>
                  </a:cubicBezTo>
                  <a:cubicBezTo>
                    <a:pt x="96494" y="137343"/>
                    <a:pt x="96494" y="134266"/>
                    <a:pt x="96658" y="131223"/>
                  </a:cubicBezTo>
                  <a:cubicBezTo>
                    <a:pt x="84059" y="144968"/>
                    <a:pt x="66224" y="152724"/>
                    <a:pt x="47570" y="152494"/>
                  </a:cubicBezTo>
                  <a:cubicBezTo>
                    <a:pt x="24466" y="155570"/>
                    <a:pt x="3227" y="139338"/>
                    <a:pt x="151" y="116234"/>
                  </a:cubicBezTo>
                  <a:cubicBezTo>
                    <a:pt x="-176" y="113943"/>
                    <a:pt x="-275" y="111621"/>
                    <a:pt x="-209" y="109297"/>
                  </a:cubicBezTo>
                  <a:cubicBezTo>
                    <a:pt x="-209" y="106351"/>
                    <a:pt x="-209" y="103734"/>
                    <a:pt x="10590" y="15375"/>
                  </a:cubicBezTo>
                  <a:cubicBezTo>
                    <a:pt x="12030" y="6376"/>
                    <a:pt x="19786" y="-301"/>
                    <a:pt x="28916" y="-333"/>
                  </a:cubicBezTo>
                  <a:cubicBezTo>
                    <a:pt x="36672" y="-333"/>
                    <a:pt x="42989" y="5950"/>
                    <a:pt x="42989" y="13739"/>
                  </a:cubicBezTo>
                  <a:lnTo>
                    <a:pt x="42989" y="15703"/>
                  </a:lnTo>
                  <a:lnTo>
                    <a:pt x="32843" y="98498"/>
                  </a:lnTo>
                  <a:cubicBezTo>
                    <a:pt x="32843" y="115514"/>
                    <a:pt x="42007" y="123042"/>
                    <a:pt x="58370" y="123042"/>
                  </a:cubicBezTo>
                  <a:cubicBezTo>
                    <a:pt x="80426" y="123631"/>
                    <a:pt x="99014" y="106744"/>
                    <a:pt x="100585" y="84753"/>
                  </a:cubicBezTo>
                  <a:lnTo>
                    <a:pt x="108766" y="15703"/>
                  </a:lnTo>
                  <a:cubicBezTo>
                    <a:pt x="110043" y="6670"/>
                    <a:pt x="117668" y="-104"/>
                    <a:pt x="126766" y="-333"/>
                  </a:cubicBezTo>
                  <a:cubicBezTo>
                    <a:pt x="134161" y="-693"/>
                    <a:pt x="140445" y="5002"/>
                    <a:pt x="140838" y="12397"/>
                  </a:cubicBezTo>
                  <a:cubicBezTo>
                    <a:pt x="140838" y="12757"/>
                    <a:pt x="140838" y="13084"/>
                    <a:pt x="140838" y="13412"/>
                  </a:cubicBezTo>
                  <a:lnTo>
                    <a:pt x="140838" y="15375"/>
                  </a:ln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5" name="Frihandsfigur: Form 34">
              <a:extLst>
                <a:ext uri="{FF2B5EF4-FFF2-40B4-BE49-F238E27FC236}">
                  <a16:creationId xmlns:a16="http://schemas.microsoft.com/office/drawing/2014/main" id="{224ECB3C-4ACA-4846-B8FB-631806C43DEA}"/>
                </a:ext>
              </a:extLst>
            </p:cNvPr>
            <p:cNvSpPr/>
            <p:nvPr/>
          </p:nvSpPr>
          <p:spPr>
            <a:xfrm>
              <a:off x="2482237" y="2746457"/>
              <a:ext cx="124714" cy="156077"/>
            </a:xfrm>
            <a:custGeom>
              <a:avLst/>
              <a:gdLst>
                <a:gd name="connsiteX0" fmla="*/ 108420 w 124714"/>
                <a:gd name="connsiteY0" fmla="*/ 37263 h 156077"/>
                <a:gd name="connsiteX1" fmla="*/ 101875 w 124714"/>
                <a:gd name="connsiteY1" fmla="*/ 35299 h 156077"/>
                <a:gd name="connsiteX2" fmla="*/ 71113 w 124714"/>
                <a:gd name="connsiteY2" fmla="*/ 28100 h 156077"/>
                <a:gd name="connsiteX3" fmla="*/ 48206 w 124714"/>
                <a:gd name="connsiteY3" fmla="*/ 44462 h 156077"/>
                <a:gd name="connsiteX4" fmla="*/ 66532 w 124714"/>
                <a:gd name="connsiteY4" fmla="*/ 60825 h 156077"/>
                <a:gd name="connsiteX5" fmla="*/ 114965 w 124714"/>
                <a:gd name="connsiteY5" fmla="*/ 105332 h 156077"/>
                <a:gd name="connsiteX6" fmla="*/ 53441 w 124714"/>
                <a:gd name="connsiteY6" fmla="*/ 155729 h 156077"/>
                <a:gd name="connsiteX7" fmla="*/ 6972 w 124714"/>
                <a:gd name="connsiteY7" fmla="*/ 143948 h 156077"/>
                <a:gd name="connsiteX8" fmla="*/ -228 w 124714"/>
                <a:gd name="connsiteY8" fmla="*/ 132494 h 156077"/>
                <a:gd name="connsiteX9" fmla="*/ 16789 w 124714"/>
                <a:gd name="connsiteY9" fmla="*/ 116786 h 156077"/>
                <a:gd name="connsiteX10" fmla="*/ 22025 w 124714"/>
                <a:gd name="connsiteY10" fmla="*/ 116786 h 156077"/>
                <a:gd name="connsiteX11" fmla="*/ 56387 w 124714"/>
                <a:gd name="connsiteY11" fmla="*/ 127257 h 156077"/>
                <a:gd name="connsiteX12" fmla="*/ 82895 w 124714"/>
                <a:gd name="connsiteY12" fmla="*/ 110241 h 156077"/>
                <a:gd name="connsiteX13" fmla="*/ 17444 w 124714"/>
                <a:gd name="connsiteY13" fmla="*/ 48063 h 156077"/>
                <a:gd name="connsiteX14" fmla="*/ 72325 w 124714"/>
                <a:gd name="connsiteY14" fmla="*/ -240 h 156077"/>
                <a:gd name="connsiteX15" fmla="*/ 74713 w 124714"/>
                <a:gd name="connsiteY15" fmla="*/ -44 h 156077"/>
                <a:gd name="connsiteX16" fmla="*/ 124456 w 124714"/>
                <a:gd name="connsiteY16" fmla="*/ 19918 h 156077"/>
                <a:gd name="connsiteX17" fmla="*/ 109108 w 124714"/>
                <a:gd name="connsiteY17" fmla="*/ 37231 h 156077"/>
                <a:gd name="connsiteX18" fmla="*/ 108420 w 124714"/>
                <a:gd name="connsiteY18" fmla="*/ 37263 h 156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714" h="156077">
                  <a:moveTo>
                    <a:pt x="108420" y="37263"/>
                  </a:moveTo>
                  <a:cubicBezTo>
                    <a:pt x="106096" y="37263"/>
                    <a:pt x="103805" y="36576"/>
                    <a:pt x="101875" y="35299"/>
                  </a:cubicBezTo>
                  <a:cubicBezTo>
                    <a:pt x="92352" y="30424"/>
                    <a:pt x="81814" y="27937"/>
                    <a:pt x="71113" y="28100"/>
                  </a:cubicBezTo>
                  <a:cubicBezTo>
                    <a:pt x="60314" y="28100"/>
                    <a:pt x="48206" y="31700"/>
                    <a:pt x="48206" y="44462"/>
                  </a:cubicBezTo>
                  <a:cubicBezTo>
                    <a:pt x="48206" y="57226"/>
                    <a:pt x="58023" y="57880"/>
                    <a:pt x="66532" y="60825"/>
                  </a:cubicBezTo>
                  <a:cubicBezTo>
                    <a:pt x="87803" y="69006"/>
                    <a:pt x="114965" y="77515"/>
                    <a:pt x="114965" y="105332"/>
                  </a:cubicBezTo>
                  <a:cubicBezTo>
                    <a:pt x="114965" y="140675"/>
                    <a:pt x="85185" y="155729"/>
                    <a:pt x="53441" y="155729"/>
                  </a:cubicBezTo>
                  <a:cubicBezTo>
                    <a:pt x="37242" y="155500"/>
                    <a:pt x="21305" y="151475"/>
                    <a:pt x="6972" y="143948"/>
                  </a:cubicBezTo>
                  <a:cubicBezTo>
                    <a:pt x="2586" y="141820"/>
                    <a:pt x="-228" y="137370"/>
                    <a:pt x="-228" y="132494"/>
                  </a:cubicBezTo>
                  <a:cubicBezTo>
                    <a:pt x="754" y="123756"/>
                    <a:pt x="7986" y="117048"/>
                    <a:pt x="16789" y="116786"/>
                  </a:cubicBezTo>
                  <a:cubicBezTo>
                    <a:pt x="18524" y="116361"/>
                    <a:pt x="20290" y="116361"/>
                    <a:pt x="22025" y="116786"/>
                  </a:cubicBezTo>
                  <a:cubicBezTo>
                    <a:pt x="32530" y="122840"/>
                    <a:pt x="44278" y="126439"/>
                    <a:pt x="56387" y="127257"/>
                  </a:cubicBezTo>
                  <a:cubicBezTo>
                    <a:pt x="68168" y="127257"/>
                    <a:pt x="82895" y="124967"/>
                    <a:pt x="82895" y="110241"/>
                  </a:cubicBezTo>
                  <a:cubicBezTo>
                    <a:pt x="82895" y="81116"/>
                    <a:pt x="17444" y="93550"/>
                    <a:pt x="17444" y="48063"/>
                  </a:cubicBezTo>
                  <a:cubicBezTo>
                    <a:pt x="19244" y="19559"/>
                    <a:pt x="43821" y="-2073"/>
                    <a:pt x="72325" y="-240"/>
                  </a:cubicBezTo>
                  <a:cubicBezTo>
                    <a:pt x="73142" y="-207"/>
                    <a:pt x="73927" y="-142"/>
                    <a:pt x="74713" y="-44"/>
                  </a:cubicBezTo>
                  <a:cubicBezTo>
                    <a:pt x="86494" y="-44"/>
                    <a:pt x="124456" y="3229"/>
                    <a:pt x="124456" y="19918"/>
                  </a:cubicBezTo>
                  <a:cubicBezTo>
                    <a:pt x="125012" y="28951"/>
                    <a:pt x="118140" y="36706"/>
                    <a:pt x="109108" y="37231"/>
                  </a:cubicBezTo>
                  <a:cubicBezTo>
                    <a:pt x="108878" y="37263"/>
                    <a:pt x="108649" y="37263"/>
                    <a:pt x="108420" y="3726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6" name="Frihandsfigur: Form 35">
              <a:extLst>
                <a:ext uri="{FF2B5EF4-FFF2-40B4-BE49-F238E27FC236}">
                  <a16:creationId xmlns:a16="http://schemas.microsoft.com/office/drawing/2014/main" id="{09E0F69F-0D88-47B9-93FA-1615197BAE7F}"/>
                </a:ext>
              </a:extLst>
            </p:cNvPr>
            <p:cNvSpPr/>
            <p:nvPr/>
          </p:nvSpPr>
          <p:spPr>
            <a:xfrm>
              <a:off x="2624593" y="2651859"/>
              <a:ext cx="129264" cy="250479"/>
            </a:xfrm>
            <a:custGeom>
              <a:avLst/>
              <a:gdLst>
                <a:gd name="connsiteX0" fmla="*/ 123474 w 129264"/>
                <a:gd name="connsiteY0" fmla="*/ 123680 h 250479"/>
                <a:gd name="connsiteX1" fmla="*/ 75368 w 129264"/>
                <a:gd name="connsiteY1" fmla="*/ 164586 h 250479"/>
                <a:gd name="connsiteX2" fmla="*/ 114637 w 129264"/>
                <a:gd name="connsiteY2" fmla="*/ 224802 h 250479"/>
                <a:gd name="connsiteX3" fmla="*/ 116928 w 129264"/>
                <a:gd name="connsiteY3" fmla="*/ 232983 h 250479"/>
                <a:gd name="connsiteX4" fmla="*/ 102726 w 129264"/>
                <a:gd name="connsiteY4" fmla="*/ 250065 h 250479"/>
                <a:gd name="connsiteX5" fmla="*/ 87803 w 129264"/>
                <a:gd name="connsiteY5" fmla="*/ 242473 h 250479"/>
                <a:gd name="connsiteX6" fmla="*/ 49842 w 129264"/>
                <a:gd name="connsiteY6" fmla="*/ 181931 h 250479"/>
                <a:gd name="connsiteX7" fmla="*/ 37078 w 129264"/>
                <a:gd name="connsiteY7" fmla="*/ 192731 h 250479"/>
                <a:gd name="connsiteX8" fmla="*/ 32170 w 129264"/>
                <a:gd name="connsiteY8" fmla="*/ 233637 h 250479"/>
                <a:gd name="connsiteX9" fmla="*/ 13516 w 129264"/>
                <a:gd name="connsiteY9" fmla="*/ 249672 h 250479"/>
                <a:gd name="connsiteX10" fmla="*/ -228 w 129264"/>
                <a:gd name="connsiteY10" fmla="*/ 236582 h 250479"/>
                <a:gd name="connsiteX11" fmla="*/ -228 w 129264"/>
                <a:gd name="connsiteY11" fmla="*/ 235928 h 250479"/>
                <a:gd name="connsiteX12" fmla="*/ 26607 w 129264"/>
                <a:gd name="connsiteY12" fmla="*/ 16341 h 250479"/>
                <a:gd name="connsiteX13" fmla="*/ 44606 w 129264"/>
                <a:gd name="connsiteY13" fmla="*/ -349 h 250479"/>
                <a:gd name="connsiteX14" fmla="*/ 59005 w 129264"/>
                <a:gd name="connsiteY14" fmla="*/ 14050 h 250479"/>
                <a:gd name="connsiteX15" fmla="*/ 41987 w 129264"/>
                <a:gd name="connsiteY15" fmla="*/ 153787 h 250479"/>
                <a:gd name="connsiteX16" fmla="*/ 104166 w 129264"/>
                <a:gd name="connsiteY16" fmla="*/ 101099 h 250479"/>
                <a:gd name="connsiteX17" fmla="*/ 114311 w 129264"/>
                <a:gd name="connsiteY17" fmla="*/ 97500 h 250479"/>
                <a:gd name="connsiteX18" fmla="*/ 129037 w 129264"/>
                <a:gd name="connsiteY18" fmla="*/ 111899 h 250479"/>
                <a:gd name="connsiteX19" fmla="*/ 123474 w 129264"/>
                <a:gd name="connsiteY19" fmla="*/ 123680 h 25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9264" h="250479">
                  <a:moveTo>
                    <a:pt x="123474" y="123680"/>
                  </a:moveTo>
                  <a:lnTo>
                    <a:pt x="75368" y="164586"/>
                  </a:lnTo>
                  <a:lnTo>
                    <a:pt x="114637" y="224802"/>
                  </a:lnTo>
                  <a:cubicBezTo>
                    <a:pt x="116143" y="227255"/>
                    <a:pt x="116961" y="230103"/>
                    <a:pt x="116928" y="232983"/>
                  </a:cubicBezTo>
                  <a:cubicBezTo>
                    <a:pt x="117714" y="241622"/>
                    <a:pt x="111366" y="249280"/>
                    <a:pt x="102726" y="250065"/>
                  </a:cubicBezTo>
                  <a:cubicBezTo>
                    <a:pt x="96705" y="250621"/>
                    <a:pt x="90912" y="247644"/>
                    <a:pt x="87803" y="242473"/>
                  </a:cubicBezTo>
                  <a:lnTo>
                    <a:pt x="49842" y="181931"/>
                  </a:lnTo>
                  <a:lnTo>
                    <a:pt x="37078" y="192731"/>
                  </a:lnTo>
                  <a:lnTo>
                    <a:pt x="32170" y="233637"/>
                  </a:lnTo>
                  <a:cubicBezTo>
                    <a:pt x="30730" y="242833"/>
                    <a:pt x="22810" y="249639"/>
                    <a:pt x="13516" y="249672"/>
                  </a:cubicBezTo>
                  <a:cubicBezTo>
                    <a:pt x="6121" y="249869"/>
                    <a:pt x="-32" y="244011"/>
                    <a:pt x="-228" y="236582"/>
                  </a:cubicBezTo>
                  <a:cubicBezTo>
                    <a:pt x="-228" y="236354"/>
                    <a:pt x="-228" y="236157"/>
                    <a:pt x="-228" y="235928"/>
                  </a:cubicBezTo>
                  <a:cubicBezTo>
                    <a:pt x="-228" y="235928"/>
                    <a:pt x="-228" y="235928"/>
                    <a:pt x="26607" y="16341"/>
                  </a:cubicBezTo>
                  <a:cubicBezTo>
                    <a:pt x="27948" y="7243"/>
                    <a:pt x="35443" y="305"/>
                    <a:pt x="44606" y="-349"/>
                  </a:cubicBezTo>
                  <a:cubicBezTo>
                    <a:pt x="52558" y="-349"/>
                    <a:pt x="59005" y="6098"/>
                    <a:pt x="59005" y="14050"/>
                  </a:cubicBezTo>
                  <a:cubicBezTo>
                    <a:pt x="59005" y="14050"/>
                    <a:pt x="59005" y="15686"/>
                    <a:pt x="41987" y="153787"/>
                  </a:cubicBezTo>
                  <a:lnTo>
                    <a:pt x="104166" y="101099"/>
                  </a:lnTo>
                  <a:cubicBezTo>
                    <a:pt x="106980" y="98678"/>
                    <a:pt x="110613" y="97369"/>
                    <a:pt x="114311" y="97500"/>
                  </a:cubicBezTo>
                  <a:cubicBezTo>
                    <a:pt x="122197" y="97827"/>
                    <a:pt x="128546" y="104045"/>
                    <a:pt x="129037" y="111899"/>
                  </a:cubicBezTo>
                  <a:cubicBezTo>
                    <a:pt x="129070" y="116480"/>
                    <a:pt x="127008" y="120800"/>
                    <a:pt x="123474" y="12368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7" name="Frihandsfigur: Form 36">
              <a:extLst>
                <a:ext uri="{FF2B5EF4-FFF2-40B4-BE49-F238E27FC236}">
                  <a16:creationId xmlns:a16="http://schemas.microsoft.com/office/drawing/2014/main" id="{FCD6D988-AE45-44E2-B1F3-CAD456B3F96F}"/>
                </a:ext>
              </a:extLst>
            </p:cNvPr>
            <p:cNvSpPr/>
            <p:nvPr/>
          </p:nvSpPr>
          <p:spPr>
            <a:xfrm>
              <a:off x="2764329" y="2750018"/>
              <a:ext cx="140719" cy="152160"/>
            </a:xfrm>
            <a:custGeom>
              <a:avLst/>
              <a:gdLst>
                <a:gd name="connsiteX0" fmla="*/ 139837 w 140719"/>
                <a:gd name="connsiteY0" fmla="*/ 46466 h 152160"/>
                <a:gd name="connsiteX1" fmla="*/ 129038 w 140719"/>
                <a:gd name="connsiteY1" fmla="*/ 135478 h 152160"/>
                <a:gd name="connsiteX2" fmla="*/ 111038 w 140719"/>
                <a:gd name="connsiteY2" fmla="*/ 151514 h 152160"/>
                <a:gd name="connsiteX3" fmla="*/ 96966 w 140719"/>
                <a:gd name="connsiteY3" fmla="*/ 138783 h 152160"/>
                <a:gd name="connsiteX4" fmla="*/ 96966 w 140719"/>
                <a:gd name="connsiteY4" fmla="*/ 137442 h 152160"/>
                <a:gd name="connsiteX5" fmla="*/ 96966 w 140719"/>
                <a:gd name="connsiteY5" fmla="*/ 135151 h 152160"/>
                <a:gd name="connsiteX6" fmla="*/ 45915 w 140719"/>
                <a:gd name="connsiteY6" fmla="*/ 151514 h 152160"/>
                <a:gd name="connsiteX7" fmla="*/ 67 w 140719"/>
                <a:gd name="connsiteY7" fmla="*/ 115484 h 152160"/>
                <a:gd name="connsiteX8" fmla="*/ -228 w 140719"/>
                <a:gd name="connsiteY8" fmla="*/ 111589 h 152160"/>
                <a:gd name="connsiteX9" fmla="*/ 78968 w 140719"/>
                <a:gd name="connsiteY9" fmla="*/ 52683 h 152160"/>
                <a:gd name="connsiteX10" fmla="*/ 106457 w 140719"/>
                <a:gd name="connsiteY10" fmla="*/ 54974 h 152160"/>
                <a:gd name="connsiteX11" fmla="*/ 106457 w 140719"/>
                <a:gd name="connsiteY11" fmla="*/ 47775 h 152160"/>
                <a:gd name="connsiteX12" fmla="*/ 73732 w 140719"/>
                <a:gd name="connsiteY12" fmla="*/ 26503 h 152160"/>
                <a:gd name="connsiteX13" fmla="*/ 41006 w 140719"/>
                <a:gd name="connsiteY13" fmla="*/ 35666 h 152160"/>
                <a:gd name="connsiteX14" fmla="*/ 34788 w 140719"/>
                <a:gd name="connsiteY14" fmla="*/ 37303 h 152160"/>
                <a:gd name="connsiteX15" fmla="*/ 22025 w 140719"/>
                <a:gd name="connsiteY15" fmla="*/ 24539 h 152160"/>
                <a:gd name="connsiteX16" fmla="*/ 32170 w 140719"/>
                <a:gd name="connsiteY16" fmla="*/ 9813 h 152160"/>
                <a:gd name="connsiteX17" fmla="*/ 86167 w 140719"/>
                <a:gd name="connsiteY17" fmla="*/ -331 h 152160"/>
                <a:gd name="connsiteX18" fmla="*/ 140492 w 140719"/>
                <a:gd name="connsiteY18" fmla="*/ 39266 h 152160"/>
                <a:gd name="connsiteX19" fmla="*/ 139837 w 140719"/>
                <a:gd name="connsiteY19" fmla="*/ 46466 h 152160"/>
                <a:gd name="connsiteX20" fmla="*/ 81585 w 140719"/>
                <a:gd name="connsiteY20" fmla="*/ 75918 h 152160"/>
                <a:gd name="connsiteX21" fmla="*/ 33152 w 140719"/>
                <a:gd name="connsiteY21" fmla="*/ 104062 h 152160"/>
                <a:gd name="connsiteX22" fmla="*/ 57369 w 140719"/>
                <a:gd name="connsiteY22" fmla="*/ 123370 h 152160"/>
                <a:gd name="connsiteX23" fmla="*/ 99912 w 140719"/>
                <a:gd name="connsiteY23" fmla="*/ 110934 h 152160"/>
                <a:gd name="connsiteX24" fmla="*/ 103838 w 140719"/>
                <a:gd name="connsiteY24" fmla="*/ 78209 h 152160"/>
                <a:gd name="connsiteX25" fmla="*/ 81585 w 140719"/>
                <a:gd name="connsiteY25" fmla="*/ 75918 h 15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719" h="152160">
                  <a:moveTo>
                    <a:pt x="139837" y="46466"/>
                  </a:moveTo>
                  <a:lnTo>
                    <a:pt x="129038" y="135478"/>
                  </a:lnTo>
                  <a:cubicBezTo>
                    <a:pt x="127630" y="144445"/>
                    <a:pt x="120103" y="151154"/>
                    <a:pt x="111038" y="151514"/>
                  </a:cubicBezTo>
                  <a:cubicBezTo>
                    <a:pt x="103643" y="151874"/>
                    <a:pt x="97327" y="146180"/>
                    <a:pt x="96966" y="138783"/>
                  </a:cubicBezTo>
                  <a:cubicBezTo>
                    <a:pt x="96933" y="138326"/>
                    <a:pt x="96933" y="137900"/>
                    <a:pt x="96966" y="137442"/>
                  </a:cubicBezTo>
                  <a:lnTo>
                    <a:pt x="96966" y="135151"/>
                  </a:lnTo>
                  <a:cubicBezTo>
                    <a:pt x="81651" y="144903"/>
                    <a:pt x="64044" y="150532"/>
                    <a:pt x="45915" y="151514"/>
                  </a:cubicBezTo>
                  <a:cubicBezTo>
                    <a:pt x="23301" y="154230"/>
                    <a:pt x="2783" y="138096"/>
                    <a:pt x="67" y="115484"/>
                  </a:cubicBezTo>
                  <a:cubicBezTo>
                    <a:pt x="-97" y="114207"/>
                    <a:pt x="-195" y="112898"/>
                    <a:pt x="-228" y="111589"/>
                  </a:cubicBezTo>
                  <a:cubicBezTo>
                    <a:pt x="-228" y="71010"/>
                    <a:pt x="44606" y="52683"/>
                    <a:pt x="78968" y="52683"/>
                  </a:cubicBezTo>
                  <a:cubicBezTo>
                    <a:pt x="88196" y="52618"/>
                    <a:pt x="97392" y="53404"/>
                    <a:pt x="106457" y="54974"/>
                  </a:cubicBezTo>
                  <a:cubicBezTo>
                    <a:pt x="106588" y="52586"/>
                    <a:pt x="106588" y="50164"/>
                    <a:pt x="106457" y="47775"/>
                  </a:cubicBezTo>
                  <a:cubicBezTo>
                    <a:pt x="106457" y="29121"/>
                    <a:pt x="89767" y="26503"/>
                    <a:pt x="73732" y="26503"/>
                  </a:cubicBezTo>
                  <a:cubicBezTo>
                    <a:pt x="62245" y="26961"/>
                    <a:pt x="51053" y="30103"/>
                    <a:pt x="41006" y="35666"/>
                  </a:cubicBezTo>
                  <a:cubicBezTo>
                    <a:pt x="39108" y="36713"/>
                    <a:pt x="36949" y="37270"/>
                    <a:pt x="34788" y="37303"/>
                  </a:cubicBezTo>
                  <a:cubicBezTo>
                    <a:pt x="27753" y="37303"/>
                    <a:pt x="22025" y="31575"/>
                    <a:pt x="22025" y="24539"/>
                  </a:cubicBezTo>
                  <a:cubicBezTo>
                    <a:pt x="22091" y="18028"/>
                    <a:pt x="26116" y="12202"/>
                    <a:pt x="32170" y="9813"/>
                  </a:cubicBezTo>
                  <a:cubicBezTo>
                    <a:pt x="49319" y="2842"/>
                    <a:pt x="67678" y="-626"/>
                    <a:pt x="86167" y="-331"/>
                  </a:cubicBezTo>
                  <a:cubicBezTo>
                    <a:pt x="112675" y="-331"/>
                    <a:pt x="140492" y="7522"/>
                    <a:pt x="140492" y="39266"/>
                  </a:cubicBezTo>
                  <a:cubicBezTo>
                    <a:pt x="140459" y="41688"/>
                    <a:pt x="140229" y="44077"/>
                    <a:pt x="139837" y="46466"/>
                  </a:cubicBezTo>
                  <a:close/>
                  <a:moveTo>
                    <a:pt x="81585" y="75918"/>
                  </a:moveTo>
                  <a:cubicBezTo>
                    <a:pt x="64895" y="75918"/>
                    <a:pt x="33152" y="81808"/>
                    <a:pt x="33152" y="104062"/>
                  </a:cubicBezTo>
                  <a:cubicBezTo>
                    <a:pt x="33152" y="117807"/>
                    <a:pt x="45261" y="123370"/>
                    <a:pt x="57369" y="123370"/>
                  </a:cubicBezTo>
                  <a:cubicBezTo>
                    <a:pt x="72389" y="123076"/>
                    <a:pt x="87083" y="118788"/>
                    <a:pt x="99912" y="110934"/>
                  </a:cubicBezTo>
                  <a:lnTo>
                    <a:pt x="103838" y="78209"/>
                  </a:lnTo>
                  <a:cubicBezTo>
                    <a:pt x="96541" y="76605"/>
                    <a:pt x="89080" y="75853"/>
                    <a:pt x="81585" y="7591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8" name="Frihandsfigur: Form 37">
              <a:extLst>
                <a:ext uri="{FF2B5EF4-FFF2-40B4-BE49-F238E27FC236}">
                  <a16:creationId xmlns:a16="http://schemas.microsoft.com/office/drawing/2014/main" id="{E88F14F2-594D-4880-B485-C3AB975876AC}"/>
                </a:ext>
              </a:extLst>
            </p:cNvPr>
            <p:cNvSpPr/>
            <p:nvPr/>
          </p:nvSpPr>
          <p:spPr>
            <a:xfrm>
              <a:off x="1856529" y="3092810"/>
              <a:ext cx="234349" cy="154000"/>
            </a:xfrm>
            <a:custGeom>
              <a:avLst/>
              <a:gdLst>
                <a:gd name="connsiteX0" fmla="*/ 233758 w 234349"/>
                <a:gd name="connsiteY0" fmla="*/ 52526 h 154000"/>
                <a:gd name="connsiteX1" fmla="*/ 223286 w 234349"/>
                <a:gd name="connsiteY1" fmla="*/ 137612 h 154000"/>
                <a:gd name="connsiteX2" fmla="*/ 205287 w 234349"/>
                <a:gd name="connsiteY2" fmla="*/ 153647 h 154000"/>
                <a:gd name="connsiteX3" fmla="*/ 191215 w 234349"/>
                <a:gd name="connsiteY3" fmla="*/ 140229 h 154000"/>
                <a:gd name="connsiteX4" fmla="*/ 191215 w 234349"/>
                <a:gd name="connsiteY4" fmla="*/ 139575 h 154000"/>
                <a:gd name="connsiteX5" fmla="*/ 191215 w 234349"/>
                <a:gd name="connsiteY5" fmla="*/ 137612 h 154000"/>
                <a:gd name="connsiteX6" fmla="*/ 200706 w 234349"/>
                <a:gd name="connsiteY6" fmla="*/ 59070 h 154000"/>
                <a:gd name="connsiteX7" fmla="*/ 200706 w 234349"/>
                <a:gd name="connsiteY7" fmla="*/ 54489 h 154000"/>
                <a:gd name="connsiteX8" fmla="*/ 172889 w 234349"/>
                <a:gd name="connsiteY8" fmla="*/ 30927 h 154000"/>
                <a:gd name="connsiteX9" fmla="*/ 135255 w 234349"/>
                <a:gd name="connsiteY9" fmla="*/ 63652 h 154000"/>
                <a:gd name="connsiteX10" fmla="*/ 126092 w 234349"/>
                <a:gd name="connsiteY10" fmla="*/ 136957 h 154000"/>
                <a:gd name="connsiteX11" fmla="*/ 109402 w 234349"/>
                <a:gd name="connsiteY11" fmla="*/ 152338 h 154000"/>
                <a:gd name="connsiteX12" fmla="*/ 95984 w 234349"/>
                <a:gd name="connsiteY12" fmla="*/ 139575 h 154000"/>
                <a:gd name="connsiteX13" fmla="*/ 95984 w 234349"/>
                <a:gd name="connsiteY13" fmla="*/ 139575 h 154000"/>
                <a:gd name="connsiteX14" fmla="*/ 95984 w 234349"/>
                <a:gd name="connsiteY14" fmla="*/ 137284 h 154000"/>
                <a:gd name="connsiteX15" fmla="*/ 105802 w 234349"/>
                <a:gd name="connsiteY15" fmla="*/ 60380 h 154000"/>
                <a:gd name="connsiteX16" fmla="*/ 105802 w 234349"/>
                <a:gd name="connsiteY16" fmla="*/ 53508 h 154000"/>
                <a:gd name="connsiteX17" fmla="*/ 86854 w 234349"/>
                <a:gd name="connsiteY17" fmla="*/ 29553 h 154000"/>
                <a:gd name="connsiteX18" fmla="*/ 81258 w 234349"/>
                <a:gd name="connsiteY18" fmla="*/ 29618 h 154000"/>
                <a:gd name="connsiteX19" fmla="*/ 40842 w 234349"/>
                <a:gd name="connsiteY19" fmla="*/ 62801 h 154000"/>
                <a:gd name="connsiteX20" fmla="*/ 40679 w 234349"/>
                <a:gd name="connsiteY20" fmla="*/ 65616 h 154000"/>
                <a:gd name="connsiteX21" fmla="*/ 32170 w 234349"/>
                <a:gd name="connsiteY21" fmla="*/ 136303 h 154000"/>
                <a:gd name="connsiteX22" fmla="*/ 13844 w 234349"/>
                <a:gd name="connsiteY22" fmla="*/ 152338 h 154000"/>
                <a:gd name="connsiteX23" fmla="*/ -228 w 234349"/>
                <a:gd name="connsiteY23" fmla="*/ 137612 h 154000"/>
                <a:gd name="connsiteX24" fmla="*/ -228 w 234349"/>
                <a:gd name="connsiteY24" fmla="*/ 135975 h 154000"/>
                <a:gd name="connsiteX25" fmla="*/ 14498 w 234349"/>
                <a:gd name="connsiteY25" fmla="*/ 16200 h 154000"/>
                <a:gd name="connsiteX26" fmla="*/ 32497 w 234349"/>
                <a:gd name="connsiteY26" fmla="*/ -162 h 154000"/>
                <a:gd name="connsiteX27" fmla="*/ 46896 w 234349"/>
                <a:gd name="connsiteY27" fmla="*/ 12928 h 154000"/>
                <a:gd name="connsiteX28" fmla="*/ 46896 w 234349"/>
                <a:gd name="connsiteY28" fmla="*/ 13583 h 154000"/>
                <a:gd name="connsiteX29" fmla="*/ 46896 w 234349"/>
                <a:gd name="connsiteY29" fmla="*/ 19145 h 154000"/>
                <a:gd name="connsiteX30" fmla="*/ 97293 w 234349"/>
                <a:gd name="connsiteY30" fmla="*/ -162 h 154000"/>
                <a:gd name="connsiteX31" fmla="*/ 135255 w 234349"/>
                <a:gd name="connsiteY31" fmla="*/ 21110 h 154000"/>
                <a:gd name="connsiteX32" fmla="*/ 187943 w 234349"/>
                <a:gd name="connsiteY32" fmla="*/ -162 h 154000"/>
                <a:gd name="connsiteX33" fmla="*/ 234085 w 234349"/>
                <a:gd name="connsiteY33" fmla="*/ 42053 h 154000"/>
                <a:gd name="connsiteX34" fmla="*/ 233758 w 234349"/>
                <a:gd name="connsiteY34" fmla="*/ 52526 h 1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34349" h="154000">
                  <a:moveTo>
                    <a:pt x="233758" y="52526"/>
                  </a:moveTo>
                  <a:lnTo>
                    <a:pt x="223286" y="137612"/>
                  </a:lnTo>
                  <a:cubicBezTo>
                    <a:pt x="221781" y="146512"/>
                    <a:pt x="214286" y="153156"/>
                    <a:pt x="205287" y="153647"/>
                  </a:cubicBezTo>
                  <a:cubicBezTo>
                    <a:pt x="197695" y="153844"/>
                    <a:pt x="191411" y="147822"/>
                    <a:pt x="191215" y="140229"/>
                  </a:cubicBezTo>
                  <a:cubicBezTo>
                    <a:pt x="191215" y="140001"/>
                    <a:pt x="191215" y="139804"/>
                    <a:pt x="191215" y="139575"/>
                  </a:cubicBezTo>
                  <a:lnTo>
                    <a:pt x="191215" y="137612"/>
                  </a:lnTo>
                  <a:lnTo>
                    <a:pt x="200706" y="59070"/>
                  </a:lnTo>
                  <a:cubicBezTo>
                    <a:pt x="200902" y="57565"/>
                    <a:pt x="200902" y="55994"/>
                    <a:pt x="200706" y="54489"/>
                  </a:cubicBezTo>
                  <a:cubicBezTo>
                    <a:pt x="200706" y="38127"/>
                    <a:pt x="188270" y="30927"/>
                    <a:pt x="172889" y="30927"/>
                  </a:cubicBezTo>
                  <a:cubicBezTo>
                    <a:pt x="153712" y="30305"/>
                    <a:pt x="137316" y="44573"/>
                    <a:pt x="135255" y="63652"/>
                  </a:cubicBezTo>
                  <a:lnTo>
                    <a:pt x="126092" y="136957"/>
                  </a:lnTo>
                  <a:cubicBezTo>
                    <a:pt x="125110" y="145531"/>
                    <a:pt x="118008" y="152076"/>
                    <a:pt x="109402" y="152338"/>
                  </a:cubicBezTo>
                  <a:cubicBezTo>
                    <a:pt x="102170" y="152534"/>
                    <a:pt x="96181" y="146807"/>
                    <a:pt x="95984" y="139575"/>
                  </a:cubicBezTo>
                  <a:cubicBezTo>
                    <a:pt x="95984" y="139575"/>
                    <a:pt x="95984" y="139575"/>
                    <a:pt x="95984" y="139575"/>
                  </a:cubicBezTo>
                  <a:lnTo>
                    <a:pt x="95984" y="137284"/>
                  </a:lnTo>
                  <a:lnTo>
                    <a:pt x="105802" y="60380"/>
                  </a:lnTo>
                  <a:cubicBezTo>
                    <a:pt x="105998" y="58089"/>
                    <a:pt x="105998" y="55799"/>
                    <a:pt x="105802" y="53508"/>
                  </a:cubicBezTo>
                  <a:cubicBezTo>
                    <a:pt x="107177" y="41661"/>
                    <a:pt x="98701" y="30927"/>
                    <a:pt x="86854" y="29553"/>
                  </a:cubicBezTo>
                  <a:cubicBezTo>
                    <a:pt x="84989" y="29323"/>
                    <a:pt x="83123" y="29356"/>
                    <a:pt x="81258" y="29618"/>
                  </a:cubicBezTo>
                  <a:cubicBezTo>
                    <a:pt x="60935" y="27621"/>
                    <a:pt x="42838" y="42479"/>
                    <a:pt x="40842" y="62801"/>
                  </a:cubicBezTo>
                  <a:cubicBezTo>
                    <a:pt x="40744" y="63750"/>
                    <a:pt x="40711" y="64667"/>
                    <a:pt x="40679" y="65616"/>
                  </a:cubicBezTo>
                  <a:lnTo>
                    <a:pt x="32170" y="136303"/>
                  </a:lnTo>
                  <a:cubicBezTo>
                    <a:pt x="30501" y="145237"/>
                    <a:pt x="22941" y="151879"/>
                    <a:pt x="13844" y="152338"/>
                  </a:cubicBezTo>
                  <a:cubicBezTo>
                    <a:pt x="5957" y="151978"/>
                    <a:pt x="-228" y="145499"/>
                    <a:pt x="-228" y="137612"/>
                  </a:cubicBezTo>
                  <a:lnTo>
                    <a:pt x="-228" y="135975"/>
                  </a:lnTo>
                  <a:lnTo>
                    <a:pt x="14498" y="16200"/>
                  </a:lnTo>
                  <a:cubicBezTo>
                    <a:pt x="15480" y="6972"/>
                    <a:pt x="23236" y="-64"/>
                    <a:pt x="32497" y="-162"/>
                  </a:cubicBezTo>
                  <a:cubicBezTo>
                    <a:pt x="40090" y="-522"/>
                    <a:pt x="46504" y="5335"/>
                    <a:pt x="46896" y="12928"/>
                  </a:cubicBezTo>
                  <a:cubicBezTo>
                    <a:pt x="46896" y="13124"/>
                    <a:pt x="46896" y="13354"/>
                    <a:pt x="46896" y="13583"/>
                  </a:cubicBezTo>
                  <a:cubicBezTo>
                    <a:pt x="47093" y="15415"/>
                    <a:pt x="47093" y="17281"/>
                    <a:pt x="46896" y="19145"/>
                  </a:cubicBezTo>
                  <a:cubicBezTo>
                    <a:pt x="60608" y="6514"/>
                    <a:pt x="78640" y="-391"/>
                    <a:pt x="97293" y="-162"/>
                  </a:cubicBezTo>
                  <a:cubicBezTo>
                    <a:pt x="113165" y="-1733"/>
                    <a:pt x="128317" y="6743"/>
                    <a:pt x="135255" y="21110"/>
                  </a:cubicBezTo>
                  <a:cubicBezTo>
                    <a:pt x="149163" y="7103"/>
                    <a:pt x="168209" y="-588"/>
                    <a:pt x="187943" y="-162"/>
                  </a:cubicBezTo>
                  <a:cubicBezTo>
                    <a:pt x="215759" y="-162"/>
                    <a:pt x="234085" y="12928"/>
                    <a:pt x="234085" y="42053"/>
                  </a:cubicBezTo>
                  <a:cubicBezTo>
                    <a:pt x="234183" y="45555"/>
                    <a:pt x="234085" y="49056"/>
                    <a:pt x="233758" y="5252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39" name="Frihandsfigur: Form 38">
              <a:extLst>
                <a:ext uri="{FF2B5EF4-FFF2-40B4-BE49-F238E27FC236}">
                  <a16:creationId xmlns:a16="http://schemas.microsoft.com/office/drawing/2014/main" id="{B630B299-A73A-4771-AF6B-CD098365FC79}"/>
                </a:ext>
              </a:extLst>
            </p:cNvPr>
            <p:cNvSpPr/>
            <p:nvPr/>
          </p:nvSpPr>
          <p:spPr>
            <a:xfrm>
              <a:off x="2111132" y="3012491"/>
              <a:ext cx="141046" cy="234536"/>
            </a:xfrm>
            <a:custGeom>
              <a:avLst/>
              <a:gdLst>
                <a:gd name="connsiteX0" fmla="*/ 140164 w 141046"/>
                <a:gd name="connsiteY0" fmla="*/ 128590 h 234536"/>
                <a:gd name="connsiteX1" fmla="*/ 129037 w 141046"/>
                <a:gd name="connsiteY1" fmla="*/ 217603 h 234536"/>
                <a:gd name="connsiteX2" fmla="*/ 111038 w 141046"/>
                <a:gd name="connsiteY2" fmla="*/ 233966 h 234536"/>
                <a:gd name="connsiteX3" fmla="*/ 96966 w 141046"/>
                <a:gd name="connsiteY3" fmla="*/ 220581 h 234536"/>
                <a:gd name="connsiteX4" fmla="*/ 96966 w 141046"/>
                <a:gd name="connsiteY4" fmla="*/ 219567 h 234536"/>
                <a:gd name="connsiteX5" fmla="*/ 96966 w 141046"/>
                <a:gd name="connsiteY5" fmla="*/ 217276 h 234536"/>
                <a:gd name="connsiteX6" fmla="*/ 45915 w 141046"/>
                <a:gd name="connsiteY6" fmla="*/ 233966 h 234536"/>
                <a:gd name="connsiteX7" fmla="*/ -32 w 141046"/>
                <a:gd name="connsiteY7" fmla="*/ 196561 h 234536"/>
                <a:gd name="connsiteX8" fmla="*/ -228 w 141046"/>
                <a:gd name="connsiteY8" fmla="*/ 193714 h 234536"/>
                <a:gd name="connsiteX9" fmla="*/ 79294 w 141046"/>
                <a:gd name="connsiteY9" fmla="*/ 134808 h 234536"/>
                <a:gd name="connsiteX10" fmla="*/ 106784 w 141046"/>
                <a:gd name="connsiteY10" fmla="*/ 137099 h 234536"/>
                <a:gd name="connsiteX11" fmla="*/ 106784 w 141046"/>
                <a:gd name="connsiteY11" fmla="*/ 129900 h 234536"/>
                <a:gd name="connsiteX12" fmla="*/ 74058 w 141046"/>
                <a:gd name="connsiteY12" fmla="*/ 108627 h 234536"/>
                <a:gd name="connsiteX13" fmla="*/ 41333 w 141046"/>
                <a:gd name="connsiteY13" fmla="*/ 117792 h 234536"/>
                <a:gd name="connsiteX14" fmla="*/ 35116 w 141046"/>
                <a:gd name="connsiteY14" fmla="*/ 119427 h 234536"/>
                <a:gd name="connsiteX15" fmla="*/ 22353 w 141046"/>
                <a:gd name="connsiteY15" fmla="*/ 106664 h 234536"/>
                <a:gd name="connsiteX16" fmla="*/ 32170 w 141046"/>
                <a:gd name="connsiteY16" fmla="*/ 91938 h 234536"/>
                <a:gd name="connsiteX17" fmla="*/ 86494 w 141046"/>
                <a:gd name="connsiteY17" fmla="*/ 81793 h 234536"/>
                <a:gd name="connsiteX18" fmla="*/ 140818 w 141046"/>
                <a:gd name="connsiteY18" fmla="*/ 121391 h 234536"/>
                <a:gd name="connsiteX19" fmla="*/ 140164 w 141046"/>
                <a:gd name="connsiteY19" fmla="*/ 128590 h 234536"/>
                <a:gd name="connsiteX20" fmla="*/ 81913 w 141046"/>
                <a:gd name="connsiteY20" fmla="*/ 158043 h 234536"/>
                <a:gd name="connsiteX21" fmla="*/ 33479 w 141046"/>
                <a:gd name="connsiteY21" fmla="*/ 186187 h 234536"/>
                <a:gd name="connsiteX22" fmla="*/ 57369 w 141046"/>
                <a:gd name="connsiteY22" fmla="*/ 205495 h 234536"/>
                <a:gd name="connsiteX23" fmla="*/ 100239 w 141046"/>
                <a:gd name="connsiteY23" fmla="*/ 193059 h 234536"/>
                <a:gd name="connsiteX24" fmla="*/ 103838 w 141046"/>
                <a:gd name="connsiteY24" fmla="*/ 160334 h 234536"/>
                <a:gd name="connsiteX25" fmla="*/ 81913 w 141046"/>
                <a:gd name="connsiteY25" fmla="*/ 158043 h 234536"/>
                <a:gd name="connsiteX26" fmla="*/ 90421 w 141046"/>
                <a:gd name="connsiteY26" fmla="*/ 69030 h 234536"/>
                <a:gd name="connsiteX27" fmla="*/ 56060 w 141046"/>
                <a:gd name="connsiteY27" fmla="*/ 34014 h 234536"/>
                <a:gd name="connsiteX28" fmla="*/ 91076 w 141046"/>
                <a:gd name="connsiteY28" fmla="*/ -347 h 234536"/>
                <a:gd name="connsiteX29" fmla="*/ 125437 w 141046"/>
                <a:gd name="connsiteY29" fmla="*/ 34341 h 234536"/>
                <a:gd name="connsiteX30" fmla="*/ 91403 w 141046"/>
                <a:gd name="connsiteY30" fmla="*/ 69030 h 234536"/>
                <a:gd name="connsiteX31" fmla="*/ 90421 w 141046"/>
                <a:gd name="connsiteY31" fmla="*/ 69030 h 234536"/>
                <a:gd name="connsiteX32" fmla="*/ 90421 w 141046"/>
                <a:gd name="connsiteY32" fmla="*/ 18960 h 234536"/>
                <a:gd name="connsiteX33" fmla="*/ 75368 w 141046"/>
                <a:gd name="connsiteY33" fmla="*/ 34669 h 234536"/>
                <a:gd name="connsiteX34" fmla="*/ 91076 w 141046"/>
                <a:gd name="connsiteY34" fmla="*/ 49722 h 234536"/>
                <a:gd name="connsiteX35" fmla="*/ 106129 w 141046"/>
                <a:gd name="connsiteY35" fmla="*/ 34341 h 234536"/>
                <a:gd name="connsiteX36" fmla="*/ 90749 w 141046"/>
                <a:gd name="connsiteY36" fmla="*/ 18960 h 234536"/>
                <a:gd name="connsiteX37" fmla="*/ 90421 w 141046"/>
                <a:gd name="connsiteY37" fmla="*/ 18960 h 234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41046" h="234536">
                  <a:moveTo>
                    <a:pt x="140164" y="128590"/>
                  </a:moveTo>
                  <a:lnTo>
                    <a:pt x="129037" y="217603"/>
                  </a:lnTo>
                  <a:cubicBezTo>
                    <a:pt x="127892" y="226766"/>
                    <a:pt x="120267" y="233704"/>
                    <a:pt x="111038" y="233966"/>
                  </a:cubicBezTo>
                  <a:cubicBezTo>
                    <a:pt x="103446" y="234163"/>
                    <a:pt x="97130" y="228174"/>
                    <a:pt x="96966" y="220581"/>
                  </a:cubicBezTo>
                  <a:cubicBezTo>
                    <a:pt x="96933" y="220221"/>
                    <a:pt x="96933" y="219894"/>
                    <a:pt x="96966" y="219567"/>
                  </a:cubicBezTo>
                  <a:lnTo>
                    <a:pt x="96966" y="217276"/>
                  </a:lnTo>
                  <a:cubicBezTo>
                    <a:pt x="81683" y="227159"/>
                    <a:pt x="64077" y="232918"/>
                    <a:pt x="45915" y="233966"/>
                  </a:cubicBezTo>
                  <a:cubicBezTo>
                    <a:pt x="22909" y="236322"/>
                    <a:pt x="2324" y="219600"/>
                    <a:pt x="-32" y="196561"/>
                  </a:cubicBezTo>
                  <a:cubicBezTo>
                    <a:pt x="-130" y="195612"/>
                    <a:pt x="-195" y="194663"/>
                    <a:pt x="-228" y="193714"/>
                  </a:cubicBezTo>
                  <a:cubicBezTo>
                    <a:pt x="-228" y="153134"/>
                    <a:pt x="44606" y="134808"/>
                    <a:pt x="79294" y="134808"/>
                  </a:cubicBezTo>
                  <a:cubicBezTo>
                    <a:pt x="88490" y="134775"/>
                    <a:pt x="97718" y="135528"/>
                    <a:pt x="106784" y="137099"/>
                  </a:cubicBezTo>
                  <a:cubicBezTo>
                    <a:pt x="106914" y="134710"/>
                    <a:pt x="106914" y="132289"/>
                    <a:pt x="106784" y="129900"/>
                  </a:cubicBezTo>
                  <a:cubicBezTo>
                    <a:pt x="106784" y="111246"/>
                    <a:pt x="89767" y="108627"/>
                    <a:pt x="74058" y="108627"/>
                  </a:cubicBezTo>
                  <a:cubicBezTo>
                    <a:pt x="62572" y="109086"/>
                    <a:pt x="51380" y="112228"/>
                    <a:pt x="41333" y="117792"/>
                  </a:cubicBezTo>
                  <a:cubicBezTo>
                    <a:pt x="39402" y="118740"/>
                    <a:pt x="37275" y="119297"/>
                    <a:pt x="35116" y="119427"/>
                  </a:cubicBezTo>
                  <a:cubicBezTo>
                    <a:pt x="28079" y="119427"/>
                    <a:pt x="22353" y="113701"/>
                    <a:pt x="22353" y="106664"/>
                  </a:cubicBezTo>
                  <a:cubicBezTo>
                    <a:pt x="22287" y="100217"/>
                    <a:pt x="26181" y="94360"/>
                    <a:pt x="32170" y="91938"/>
                  </a:cubicBezTo>
                  <a:cubicBezTo>
                    <a:pt x="49416" y="85000"/>
                    <a:pt x="67906" y="81532"/>
                    <a:pt x="86494" y="81793"/>
                  </a:cubicBezTo>
                  <a:cubicBezTo>
                    <a:pt x="113001" y="81793"/>
                    <a:pt x="140818" y="89647"/>
                    <a:pt x="140818" y="121391"/>
                  </a:cubicBezTo>
                  <a:cubicBezTo>
                    <a:pt x="140785" y="123813"/>
                    <a:pt x="140557" y="126202"/>
                    <a:pt x="140164" y="128590"/>
                  </a:cubicBezTo>
                  <a:close/>
                  <a:moveTo>
                    <a:pt x="81913" y="158043"/>
                  </a:moveTo>
                  <a:cubicBezTo>
                    <a:pt x="64895" y="158043"/>
                    <a:pt x="33479" y="163933"/>
                    <a:pt x="33479" y="186187"/>
                  </a:cubicBezTo>
                  <a:cubicBezTo>
                    <a:pt x="33479" y="199931"/>
                    <a:pt x="45260" y="205495"/>
                    <a:pt x="57369" y="205495"/>
                  </a:cubicBezTo>
                  <a:cubicBezTo>
                    <a:pt x="72520" y="205233"/>
                    <a:pt x="87312" y="200946"/>
                    <a:pt x="100239" y="193059"/>
                  </a:cubicBezTo>
                  <a:lnTo>
                    <a:pt x="103838" y="160334"/>
                  </a:lnTo>
                  <a:cubicBezTo>
                    <a:pt x="96639" y="158763"/>
                    <a:pt x="89275" y="157978"/>
                    <a:pt x="81913" y="158043"/>
                  </a:cubicBezTo>
                  <a:close/>
                  <a:moveTo>
                    <a:pt x="90421" y="69030"/>
                  </a:moveTo>
                  <a:cubicBezTo>
                    <a:pt x="71277" y="68834"/>
                    <a:pt x="55896" y="53159"/>
                    <a:pt x="56060" y="34014"/>
                  </a:cubicBezTo>
                  <a:cubicBezTo>
                    <a:pt x="56255" y="14870"/>
                    <a:pt x="71931" y="-511"/>
                    <a:pt x="91076" y="-347"/>
                  </a:cubicBezTo>
                  <a:cubicBezTo>
                    <a:pt x="110089" y="-151"/>
                    <a:pt x="125437" y="15295"/>
                    <a:pt x="125437" y="34341"/>
                  </a:cubicBezTo>
                  <a:cubicBezTo>
                    <a:pt x="125634" y="53323"/>
                    <a:pt x="110384" y="68866"/>
                    <a:pt x="91403" y="69030"/>
                  </a:cubicBezTo>
                  <a:cubicBezTo>
                    <a:pt x="91076" y="69030"/>
                    <a:pt x="90749" y="69030"/>
                    <a:pt x="90421" y="69030"/>
                  </a:cubicBezTo>
                  <a:close/>
                  <a:moveTo>
                    <a:pt x="90421" y="18960"/>
                  </a:moveTo>
                  <a:cubicBezTo>
                    <a:pt x="81913" y="19157"/>
                    <a:pt x="75204" y="26160"/>
                    <a:pt x="75368" y="34669"/>
                  </a:cubicBezTo>
                  <a:cubicBezTo>
                    <a:pt x="75564" y="43145"/>
                    <a:pt x="82567" y="49886"/>
                    <a:pt x="91076" y="49722"/>
                  </a:cubicBezTo>
                  <a:cubicBezTo>
                    <a:pt x="99453" y="49526"/>
                    <a:pt x="106129" y="42719"/>
                    <a:pt x="106129" y="34341"/>
                  </a:cubicBezTo>
                  <a:cubicBezTo>
                    <a:pt x="106129" y="25832"/>
                    <a:pt x="99257" y="18960"/>
                    <a:pt x="90749" y="18960"/>
                  </a:cubicBezTo>
                  <a:cubicBezTo>
                    <a:pt x="90651" y="18960"/>
                    <a:pt x="90520" y="18960"/>
                    <a:pt x="90421" y="1896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0" name="Frihandsfigur: Form 39">
              <a:extLst>
                <a:ext uri="{FF2B5EF4-FFF2-40B4-BE49-F238E27FC236}">
                  <a16:creationId xmlns:a16="http://schemas.microsoft.com/office/drawing/2014/main" id="{349E0570-0A78-442E-8F57-B5830E5B47E1}"/>
                </a:ext>
              </a:extLst>
            </p:cNvPr>
            <p:cNvSpPr/>
            <p:nvPr/>
          </p:nvSpPr>
          <p:spPr>
            <a:xfrm>
              <a:off x="2340537" y="2996768"/>
              <a:ext cx="151662" cy="250042"/>
            </a:xfrm>
            <a:custGeom>
              <a:avLst/>
              <a:gdLst>
                <a:gd name="connsiteX0" fmla="*/ 77003 w 151662"/>
                <a:gd name="connsiteY0" fmla="*/ 249034 h 250042"/>
                <a:gd name="connsiteX1" fmla="*/ 30206 w 151662"/>
                <a:gd name="connsiteY1" fmla="*/ 231690 h 250042"/>
                <a:gd name="connsiteX2" fmla="*/ 13189 w 151662"/>
                <a:gd name="connsiteY2" fmla="*/ 249689 h 250042"/>
                <a:gd name="connsiteX3" fmla="*/ -228 w 151662"/>
                <a:gd name="connsiteY3" fmla="*/ 236925 h 250042"/>
                <a:gd name="connsiteX4" fmla="*/ -228 w 151662"/>
                <a:gd name="connsiteY4" fmla="*/ 236925 h 250042"/>
                <a:gd name="connsiteX5" fmla="*/ 26934 w 151662"/>
                <a:gd name="connsiteY5" fmla="*/ 16029 h 250042"/>
                <a:gd name="connsiteX6" fmla="*/ 44932 w 151662"/>
                <a:gd name="connsiteY6" fmla="*/ -333 h 250042"/>
                <a:gd name="connsiteX7" fmla="*/ 59659 w 151662"/>
                <a:gd name="connsiteY7" fmla="*/ 13084 h 250042"/>
                <a:gd name="connsiteX8" fmla="*/ 59659 w 151662"/>
                <a:gd name="connsiteY8" fmla="*/ 13739 h 250042"/>
                <a:gd name="connsiteX9" fmla="*/ 47223 w 151662"/>
                <a:gd name="connsiteY9" fmla="*/ 115187 h 250042"/>
                <a:gd name="connsiteX10" fmla="*/ 95984 w 151662"/>
                <a:gd name="connsiteY10" fmla="*/ 98170 h 250042"/>
                <a:gd name="connsiteX11" fmla="*/ 151420 w 151662"/>
                <a:gd name="connsiteY11" fmla="*/ 151349 h 250042"/>
                <a:gd name="connsiteX12" fmla="*/ 150963 w 151662"/>
                <a:gd name="connsiteY12" fmla="*/ 159694 h 250042"/>
                <a:gd name="connsiteX13" fmla="*/ 77003 w 151662"/>
                <a:gd name="connsiteY13" fmla="*/ 249034 h 250042"/>
                <a:gd name="connsiteX14" fmla="*/ 84531 w 151662"/>
                <a:gd name="connsiteY14" fmla="*/ 127623 h 250042"/>
                <a:gd name="connsiteX15" fmla="*/ 37242 w 151662"/>
                <a:gd name="connsiteY15" fmla="*/ 179722 h 250042"/>
                <a:gd name="connsiteX16" fmla="*/ 37406 w 151662"/>
                <a:gd name="connsiteY16" fmla="*/ 181947 h 250042"/>
                <a:gd name="connsiteX17" fmla="*/ 67873 w 151662"/>
                <a:gd name="connsiteY17" fmla="*/ 220988 h 250042"/>
                <a:gd name="connsiteX18" fmla="*/ 73731 w 151662"/>
                <a:gd name="connsiteY18" fmla="*/ 221218 h 250042"/>
                <a:gd name="connsiteX19" fmla="*/ 119219 w 151662"/>
                <a:gd name="connsiteY19" fmla="*/ 163948 h 250042"/>
                <a:gd name="connsiteX20" fmla="*/ 89079 w 151662"/>
                <a:gd name="connsiteY20" fmla="*/ 128834 h 250042"/>
                <a:gd name="connsiteX21" fmla="*/ 82894 w 151662"/>
                <a:gd name="connsiteY21" fmla="*/ 128932 h 2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662" h="250042">
                  <a:moveTo>
                    <a:pt x="77003" y="249034"/>
                  </a:moveTo>
                  <a:cubicBezTo>
                    <a:pt x="59626" y="250442"/>
                    <a:pt x="42478" y="244093"/>
                    <a:pt x="30206" y="231690"/>
                  </a:cubicBezTo>
                  <a:cubicBezTo>
                    <a:pt x="30402" y="241311"/>
                    <a:pt x="22810" y="249328"/>
                    <a:pt x="13189" y="249689"/>
                  </a:cubicBezTo>
                  <a:cubicBezTo>
                    <a:pt x="5957" y="249885"/>
                    <a:pt x="-32" y="244158"/>
                    <a:pt x="-228" y="236925"/>
                  </a:cubicBezTo>
                  <a:cubicBezTo>
                    <a:pt x="-228" y="236925"/>
                    <a:pt x="-228" y="236925"/>
                    <a:pt x="-228" y="236925"/>
                  </a:cubicBezTo>
                  <a:cubicBezTo>
                    <a:pt x="-228" y="236925"/>
                    <a:pt x="-228" y="234962"/>
                    <a:pt x="26934" y="16029"/>
                  </a:cubicBezTo>
                  <a:cubicBezTo>
                    <a:pt x="27915" y="6801"/>
                    <a:pt x="35671" y="-234"/>
                    <a:pt x="44932" y="-333"/>
                  </a:cubicBezTo>
                  <a:cubicBezTo>
                    <a:pt x="52688" y="-693"/>
                    <a:pt x="59267" y="5295"/>
                    <a:pt x="59659" y="13084"/>
                  </a:cubicBezTo>
                  <a:cubicBezTo>
                    <a:pt x="59659" y="13281"/>
                    <a:pt x="59659" y="13510"/>
                    <a:pt x="59659" y="13739"/>
                  </a:cubicBezTo>
                  <a:cubicBezTo>
                    <a:pt x="59659" y="13739"/>
                    <a:pt x="59659" y="13739"/>
                    <a:pt x="47223" y="115187"/>
                  </a:cubicBezTo>
                  <a:cubicBezTo>
                    <a:pt x="60707" y="103471"/>
                    <a:pt x="78149" y="97385"/>
                    <a:pt x="95984" y="98170"/>
                  </a:cubicBezTo>
                  <a:cubicBezTo>
                    <a:pt x="125994" y="97548"/>
                    <a:pt x="150799" y="121340"/>
                    <a:pt x="151420" y="151349"/>
                  </a:cubicBezTo>
                  <a:cubicBezTo>
                    <a:pt x="151486" y="154130"/>
                    <a:pt x="151323" y="156913"/>
                    <a:pt x="150963" y="159694"/>
                  </a:cubicBezTo>
                  <a:cubicBezTo>
                    <a:pt x="149326" y="200928"/>
                    <a:pt x="121837" y="249034"/>
                    <a:pt x="77003" y="249034"/>
                  </a:cubicBezTo>
                  <a:close/>
                  <a:moveTo>
                    <a:pt x="84531" y="127623"/>
                  </a:moveTo>
                  <a:cubicBezTo>
                    <a:pt x="57106" y="128965"/>
                    <a:pt x="35933" y="152266"/>
                    <a:pt x="37242" y="179722"/>
                  </a:cubicBezTo>
                  <a:cubicBezTo>
                    <a:pt x="37275" y="180442"/>
                    <a:pt x="37340" y="181194"/>
                    <a:pt x="37406" y="181947"/>
                  </a:cubicBezTo>
                  <a:cubicBezTo>
                    <a:pt x="35049" y="201124"/>
                    <a:pt x="48663" y="218632"/>
                    <a:pt x="67873" y="220988"/>
                  </a:cubicBezTo>
                  <a:cubicBezTo>
                    <a:pt x="69804" y="221218"/>
                    <a:pt x="71767" y="221316"/>
                    <a:pt x="73731" y="221218"/>
                  </a:cubicBezTo>
                  <a:cubicBezTo>
                    <a:pt x="103511" y="221218"/>
                    <a:pt x="119219" y="191110"/>
                    <a:pt x="119219" y="163948"/>
                  </a:cubicBezTo>
                  <a:cubicBezTo>
                    <a:pt x="120594" y="145917"/>
                    <a:pt x="107111" y="130208"/>
                    <a:pt x="89079" y="128834"/>
                  </a:cubicBezTo>
                  <a:cubicBezTo>
                    <a:pt x="87017" y="128670"/>
                    <a:pt x="84956" y="128703"/>
                    <a:pt x="82894" y="128932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1" name="Frihandsfigur: Form 40">
              <a:extLst>
                <a:ext uri="{FF2B5EF4-FFF2-40B4-BE49-F238E27FC236}">
                  <a16:creationId xmlns:a16="http://schemas.microsoft.com/office/drawing/2014/main" id="{0BF260E9-FF54-4548-8833-387F2AC126B8}"/>
                </a:ext>
              </a:extLst>
            </p:cNvPr>
            <p:cNvSpPr/>
            <p:nvPr/>
          </p:nvSpPr>
          <p:spPr>
            <a:xfrm>
              <a:off x="2515617" y="3093308"/>
              <a:ext cx="119120" cy="153169"/>
            </a:xfrm>
            <a:custGeom>
              <a:avLst/>
              <a:gdLst>
                <a:gd name="connsiteX0" fmla="*/ 98276 w 119120"/>
                <a:gd name="connsiteY0" fmla="*/ 40574 h 153169"/>
                <a:gd name="connsiteX1" fmla="*/ 76023 w 119120"/>
                <a:gd name="connsiteY1" fmla="*/ 34356 h 153169"/>
                <a:gd name="connsiteX2" fmla="*/ 40352 w 119120"/>
                <a:gd name="connsiteY2" fmla="*/ 71336 h 153169"/>
                <a:gd name="connsiteX3" fmla="*/ 32171 w 119120"/>
                <a:gd name="connsiteY3" fmla="*/ 136786 h 153169"/>
                <a:gd name="connsiteX4" fmla="*/ 14171 w 119120"/>
                <a:gd name="connsiteY4" fmla="*/ 152821 h 153169"/>
                <a:gd name="connsiteX5" fmla="*/ -228 w 119120"/>
                <a:gd name="connsiteY5" fmla="*/ 138422 h 153169"/>
                <a:gd name="connsiteX6" fmla="*/ -228 w 119120"/>
                <a:gd name="connsiteY6" fmla="*/ 136786 h 153169"/>
                <a:gd name="connsiteX7" fmla="*/ 15153 w 119120"/>
                <a:gd name="connsiteY7" fmla="*/ 14394 h 153169"/>
                <a:gd name="connsiteX8" fmla="*/ 32825 w 119120"/>
                <a:gd name="connsiteY8" fmla="*/ -333 h 153169"/>
                <a:gd name="connsiteX9" fmla="*/ 47224 w 119120"/>
                <a:gd name="connsiteY9" fmla="*/ 12724 h 153169"/>
                <a:gd name="connsiteX10" fmla="*/ 47224 w 119120"/>
                <a:gd name="connsiteY10" fmla="*/ 13739 h 153169"/>
                <a:gd name="connsiteX11" fmla="*/ 47224 w 119120"/>
                <a:gd name="connsiteY11" fmla="*/ 25193 h 153169"/>
                <a:gd name="connsiteX12" fmla="*/ 89113 w 119120"/>
                <a:gd name="connsiteY12" fmla="*/ 2612 h 153169"/>
                <a:gd name="connsiteX13" fmla="*/ 118893 w 119120"/>
                <a:gd name="connsiteY13" fmla="*/ 22575 h 153169"/>
                <a:gd name="connsiteX14" fmla="*/ 98276 w 119120"/>
                <a:gd name="connsiteY14" fmla="*/ 40574 h 15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120" h="153169">
                  <a:moveTo>
                    <a:pt x="98276" y="40574"/>
                  </a:moveTo>
                  <a:cubicBezTo>
                    <a:pt x="90749" y="40574"/>
                    <a:pt x="87149" y="34356"/>
                    <a:pt x="76023" y="34356"/>
                  </a:cubicBezTo>
                  <a:cubicBezTo>
                    <a:pt x="56846" y="36614"/>
                    <a:pt x="41923" y="52093"/>
                    <a:pt x="40352" y="71336"/>
                  </a:cubicBezTo>
                  <a:lnTo>
                    <a:pt x="32171" y="136786"/>
                  </a:lnTo>
                  <a:cubicBezTo>
                    <a:pt x="30665" y="145688"/>
                    <a:pt x="23171" y="152331"/>
                    <a:pt x="14171" y="152821"/>
                  </a:cubicBezTo>
                  <a:cubicBezTo>
                    <a:pt x="6220" y="152821"/>
                    <a:pt x="-228" y="146375"/>
                    <a:pt x="-228" y="138422"/>
                  </a:cubicBezTo>
                  <a:lnTo>
                    <a:pt x="-228" y="136786"/>
                  </a:lnTo>
                  <a:lnTo>
                    <a:pt x="15153" y="14394"/>
                  </a:lnTo>
                  <a:cubicBezTo>
                    <a:pt x="16954" y="6016"/>
                    <a:pt x="24251" y="-71"/>
                    <a:pt x="32825" y="-333"/>
                  </a:cubicBezTo>
                  <a:cubicBezTo>
                    <a:pt x="40417" y="-693"/>
                    <a:pt x="46864" y="5165"/>
                    <a:pt x="47224" y="12724"/>
                  </a:cubicBezTo>
                  <a:cubicBezTo>
                    <a:pt x="47224" y="13084"/>
                    <a:pt x="47224" y="13412"/>
                    <a:pt x="47224" y="13739"/>
                  </a:cubicBezTo>
                  <a:cubicBezTo>
                    <a:pt x="47552" y="17535"/>
                    <a:pt x="47552" y="21397"/>
                    <a:pt x="47224" y="25193"/>
                  </a:cubicBezTo>
                  <a:cubicBezTo>
                    <a:pt x="57140" y="11808"/>
                    <a:pt x="72488" y="3529"/>
                    <a:pt x="89113" y="2612"/>
                  </a:cubicBezTo>
                  <a:cubicBezTo>
                    <a:pt x="101221" y="2612"/>
                    <a:pt x="118893" y="8176"/>
                    <a:pt x="118893" y="22575"/>
                  </a:cubicBezTo>
                  <a:cubicBezTo>
                    <a:pt x="117878" y="33079"/>
                    <a:pt x="108813" y="40966"/>
                    <a:pt x="98276" y="40574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2" name="Frihandsfigur: Form 41">
              <a:extLst>
                <a:ext uri="{FF2B5EF4-FFF2-40B4-BE49-F238E27FC236}">
                  <a16:creationId xmlns:a16="http://schemas.microsoft.com/office/drawing/2014/main" id="{5C902ABA-0963-4BCF-9655-FA955DD90321}"/>
                </a:ext>
              </a:extLst>
            </p:cNvPr>
            <p:cNvSpPr/>
            <p:nvPr/>
          </p:nvSpPr>
          <p:spPr>
            <a:xfrm>
              <a:off x="2631137" y="3094619"/>
              <a:ext cx="141046" cy="152407"/>
            </a:xfrm>
            <a:custGeom>
              <a:avLst/>
              <a:gdLst>
                <a:gd name="connsiteX0" fmla="*/ 140164 w 141046"/>
                <a:gd name="connsiteY0" fmla="*/ 46462 h 152407"/>
                <a:gd name="connsiteX1" fmla="*/ 129038 w 141046"/>
                <a:gd name="connsiteY1" fmla="*/ 135475 h 152407"/>
                <a:gd name="connsiteX2" fmla="*/ 111039 w 141046"/>
                <a:gd name="connsiteY2" fmla="*/ 151838 h 152407"/>
                <a:gd name="connsiteX3" fmla="*/ 96966 w 141046"/>
                <a:gd name="connsiteY3" fmla="*/ 138453 h 152407"/>
                <a:gd name="connsiteX4" fmla="*/ 96966 w 141046"/>
                <a:gd name="connsiteY4" fmla="*/ 137438 h 152407"/>
                <a:gd name="connsiteX5" fmla="*/ 96966 w 141046"/>
                <a:gd name="connsiteY5" fmla="*/ 135147 h 152407"/>
                <a:gd name="connsiteX6" fmla="*/ 45915 w 141046"/>
                <a:gd name="connsiteY6" fmla="*/ 151838 h 152407"/>
                <a:gd name="connsiteX7" fmla="*/ -31 w 141046"/>
                <a:gd name="connsiteY7" fmla="*/ 114432 h 152407"/>
                <a:gd name="connsiteX8" fmla="*/ -228 w 141046"/>
                <a:gd name="connsiteY8" fmla="*/ 111585 h 152407"/>
                <a:gd name="connsiteX9" fmla="*/ 79295 w 141046"/>
                <a:gd name="connsiteY9" fmla="*/ 52680 h 152407"/>
                <a:gd name="connsiteX10" fmla="*/ 106785 w 141046"/>
                <a:gd name="connsiteY10" fmla="*/ 54971 h 152407"/>
                <a:gd name="connsiteX11" fmla="*/ 106785 w 141046"/>
                <a:gd name="connsiteY11" fmla="*/ 47771 h 152407"/>
                <a:gd name="connsiteX12" fmla="*/ 74059 w 141046"/>
                <a:gd name="connsiteY12" fmla="*/ 26499 h 152407"/>
                <a:gd name="connsiteX13" fmla="*/ 41334 w 141046"/>
                <a:gd name="connsiteY13" fmla="*/ 35663 h 152407"/>
                <a:gd name="connsiteX14" fmla="*/ 35116 w 141046"/>
                <a:gd name="connsiteY14" fmla="*/ 37299 h 152407"/>
                <a:gd name="connsiteX15" fmla="*/ 22353 w 141046"/>
                <a:gd name="connsiteY15" fmla="*/ 24536 h 152407"/>
                <a:gd name="connsiteX16" fmla="*/ 32171 w 141046"/>
                <a:gd name="connsiteY16" fmla="*/ 9810 h 152407"/>
                <a:gd name="connsiteX17" fmla="*/ 86495 w 141046"/>
                <a:gd name="connsiteY17" fmla="*/ -335 h 152407"/>
                <a:gd name="connsiteX18" fmla="*/ 140818 w 141046"/>
                <a:gd name="connsiteY18" fmla="*/ 39262 h 152407"/>
                <a:gd name="connsiteX19" fmla="*/ 140164 w 141046"/>
                <a:gd name="connsiteY19" fmla="*/ 46462 h 152407"/>
                <a:gd name="connsiteX20" fmla="*/ 81913 w 141046"/>
                <a:gd name="connsiteY20" fmla="*/ 75915 h 152407"/>
                <a:gd name="connsiteX21" fmla="*/ 33153 w 141046"/>
                <a:gd name="connsiteY21" fmla="*/ 104059 h 152407"/>
                <a:gd name="connsiteX22" fmla="*/ 57369 w 141046"/>
                <a:gd name="connsiteY22" fmla="*/ 123367 h 152407"/>
                <a:gd name="connsiteX23" fmla="*/ 100239 w 141046"/>
                <a:gd name="connsiteY23" fmla="*/ 110931 h 152407"/>
                <a:gd name="connsiteX24" fmla="*/ 103839 w 141046"/>
                <a:gd name="connsiteY24" fmla="*/ 78206 h 152407"/>
                <a:gd name="connsiteX25" fmla="*/ 80931 w 141046"/>
                <a:gd name="connsiteY25" fmla="*/ 75915 h 15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046" h="152407">
                  <a:moveTo>
                    <a:pt x="140164" y="46462"/>
                  </a:moveTo>
                  <a:lnTo>
                    <a:pt x="129038" y="135475"/>
                  </a:lnTo>
                  <a:cubicBezTo>
                    <a:pt x="127892" y="144638"/>
                    <a:pt x="120267" y="151576"/>
                    <a:pt x="111039" y="151838"/>
                  </a:cubicBezTo>
                  <a:cubicBezTo>
                    <a:pt x="103446" y="152034"/>
                    <a:pt x="97130" y="146045"/>
                    <a:pt x="96966" y="138453"/>
                  </a:cubicBezTo>
                  <a:cubicBezTo>
                    <a:pt x="96934" y="138093"/>
                    <a:pt x="96966" y="137766"/>
                    <a:pt x="96966" y="137438"/>
                  </a:cubicBezTo>
                  <a:lnTo>
                    <a:pt x="96966" y="135147"/>
                  </a:lnTo>
                  <a:cubicBezTo>
                    <a:pt x="81684" y="145030"/>
                    <a:pt x="64077" y="150790"/>
                    <a:pt x="45915" y="151838"/>
                  </a:cubicBezTo>
                  <a:cubicBezTo>
                    <a:pt x="22909" y="154194"/>
                    <a:pt x="2325" y="137471"/>
                    <a:pt x="-31" y="114432"/>
                  </a:cubicBezTo>
                  <a:cubicBezTo>
                    <a:pt x="-129" y="113484"/>
                    <a:pt x="-195" y="112535"/>
                    <a:pt x="-228" y="111585"/>
                  </a:cubicBezTo>
                  <a:cubicBezTo>
                    <a:pt x="-228" y="71006"/>
                    <a:pt x="44607" y="52680"/>
                    <a:pt x="79295" y="52680"/>
                  </a:cubicBezTo>
                  <a:cubicBezTo>
                    <a:pt x="88523" y="52647"/>
                    <a:pt x="97719" y="53400"/>
                    <a:pt x="106785" y="54971"/>
                  </a:cubicBezTo>
                  <a:cubicBezTo>
                    <a:pt x="106915" y="52582"/>
                    <a:pt x="106915" y="50160"/>
                    <a:pt x="106785" y="47771"/>
                  </a:cubicBezTo>
                  <a:cubicBezTo>
                    <a:pt x="106785" y="29118"/>
                    <a:pt x="89767" y="26499"/>
                    <a:pt x="74059" y="26499"/>
                  </a:cubicBezTo>
                  <a:cubicBezTo>
                    <a:pt x="62572" y="26957"/>
                    <a:pt x="51380" y="30099"/>
                    <a:pt x="41334" y="35663"/>
                  </a:cubicBezTo>
                  <a:cubicBezTo>
                    <a:pt x="39402" y="36612"/>
                    <a:pt x="37275" y="37168"/>
                    <a:pt x="35116" y="37299"/>
                  </a:cubicBezTo>
                  <a:cubicBezTo>
                    <a:pt x="28080" y="37299"/>
                    <a:pt x="22353" y="31572"/>
                    <a:pt x="22353" y="24536"/>
                  </a:cubicBezTo>
                  <a:cubicBezTo>
                    <a:pt x="22288" y="18089"/>
                    <a:pt x="26182" y="12232"/>
                    <a:pt x="32171" y="9810"/>
                  </a:cubicBezTo>
                  <a:cubicBezTo>
                    <a:pt x="49416" y="2872"/>
                    <a:pt x="67906" y="-597"/>
                    <a:pt x="86495" y="-335"/>
                  </a:cubicBezTo>
                  <a:cubicBezTo>
                    <a:pt x="113002" y="-335"/>
                    <a:pt x="140818" y="7519"/>
                    <a:pt x="140818" y="39262"/>
                  </a:cubicBezTo>
                  <a:cubicBezTo>
                    <a:pt x="140786" y="41684"/>
                    <a:pt x="140557" y="44073"/>
                    <a:pt x="140164" y="46462"/>
                  </a:cubicBezTo>
                  <a:close/>
                  <a:moveTo>
                    <a:pt x="81913" y="75915"/>
                  </a:moveTo>
                  <a:cubicBezTo>
                    <a:pt x="64896" y="75915"/>
                    <a:pt x="33153" y="81805"/>
                    <a:pt x="33153" y="104059"/>
                  </a:cubicBezTo>
                  <a:cubicBezTo>
                    <a:pt x="33153" y="117803"/>
                    <a:pt x="45261" y="123367"/>
                    <a:pt x="57369" y="123367"/>
                  </a:cubicBezTo>
                  <a:cubicBezTo>
                    <a:pt x="72521" y="123105"/>
                    <a:pt x="87313" y="118818"/>
                    <a:pt x="100239" y="110931"/>
                  </a:cubicBezTo>
                  <a:lnTo>
                    <a:pt x="103839" y="78206"/>
                  </a:lnTo>
                  <a:cubicBezTo>
                    <a:pt x="96312" y="76537"/>
                    <a:pt x="88621" y="75784"/>
                    <a:pt x="80931" y="7591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3" name="Frihandsfigur: Form 42">
              <a:extLst>
                <a:ext uri="{FF2B5EF4-FFF2-40B4-BE49-F238E27FC236}">
                  <a16:creationId xmlns:a16="http://schemas.microsoft.com/office/drawing/2014/main" id="{6FB990BB-A4A2-415E-A42E-04604585CFA3}"/>
                </a:ext>
              </a:extLst>
            </p:cNvPr>
            <p:cNvSpPr/>
            <p:nvPr/>
          </p:nvSpPr>
          <p:spPr>
            <a:xfrm>
              <a:off x="3245359" y="4135293"/>
              <a:ext cx="172214" cy="247750"/>
            </a:xfrm>
            <a:custGeom>
              <a:avLst/>
              <a:gdLst>
                <a:gd name="connsiteX0" fmla="*/ 155577 w 172214"/>
                <a:gd name="connsiteY0" fmla="*/ 29437 h 247750"/>
                <a:gd name="connsiteX1" fmla="*/ 100926 w 172214"/>
                <a:gd name="connsiteY1" fmla="*/ 29437 h 247750"/>
                <a:gd name="connsiteX2" fmla="*/ 100926 w 172214"/>
                <a:gd name="connsiteY2" fmla="*/ 29437 h 247750"/>
                <a:gd name="connsiteX3" fmla="*/ 76710 w 172214"/>
                <a:gd name="connsiteY3" fmla="*/ 228734 h 247750"/>
                <a:gd name="connsiteX4" fmla="*/ 57401 w 172214"/>
                <a:gd name="connsiteY4" fmla="*/ 247388 h 247750"/>
                <a:gd name="connsiteX5" fmla="*/ 42020 w 172214"/>
                <a:gd name="connsiteY5" fmla="*/ 233316 h 247750"/>
                <a:gd name="connsiteX6" fmla="*/ 42020 w 172214"/>
                <a:gd name="connsiteY6" fmla="*/ 232661 h 247750"/>
                <a:gd name="connsiteX7" fmla="*/ 42020 w 172214"/>
                <a:gd name="connsiteY7" fmla="*/ 229388 h 247750"/>
                <a:gd name="connsiteX8" fmla="*/ 66892 w 172214"/>
                <a:gd name="connsiteY8" fmla="*/ 30091 h 247750"/>
                <a:gd name="connsiteX9" fmla="*/ 12241 w 172214"/>
                <a:gd name="connsiteY9" fmla="*/ 30091 h 247750"/>
                <a:gd name="connsiteX10" fmla="*/ -228 w 172214"/>
                <a:gd name="connsiteY10" fmla="*/ 18343 h 247750"/>
                <a:gd name="connsiteX11" fmla="*/ -195 w 172214"/>
                <a:gd name="connsiteY11" fmla="*/ 17001 h 247750"/>
                <a:gd name="connsiteX12" fmla="*/ 15807 w 172214"/>
                <a:gd name="connsiteY12" fmla="*/ -343 h 247750"/>
                <a:gd name="connsiteX13" fmla="*/ 15840 w 172214"/>
                <a:gd name="connsiteY13" fmla="*/ -343 h 247750"/>
                <a:gd name="connsiteX14" fmla="*/ 159505 w 172214"/>
                <a:gd name="connsiteY14" fmla="*/ -343 h 247750"/>
                <a:gd name="connsiteX15" fmla="*/ 171973 w 172214"/>
                <a:gd name="connsiteY15" fmla="*/ 11405 h 247750"/>
                <a:gd name="connsiteX16" fmla="*/ 171940 w 172214"/>
                <a:gd name="connsiteY16" fmla="*/ 12747 h 247750"/>
                <a:gd name="connsiteX17" fmla="*/ 155577 w 172214"/>
                <a:gd name="connsiteY17" fmla="*/ 29437 h 2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2214" h="247750">
                  <a:moveTo>
                    <a:pt x="155577" y="29437"/>
                  </a:moveTo>
                  <a:lnTo>
                    <a:pt x="100926" y="29437"/>
                  </a:lnTo>
                  <a:lnTo>
                    <a:pt x="100926" y="29437"/>
                  </a:lnTo>
                  <a:lnTo>
                    <a:pt x="76710" y="228734"/>
                  </a:lnTo>
                  <a:cubicBezTo>
                    <a:pt x="75401" y="238683"/>
                    <a:pt x="67383" y="246406"/>
                    <a:pt x="57401" y="247388"/>
                  </a:cubicBezTo>
                  <a:cubicBezTo>
                    <a:pt x="49286" y="247747"/>
                    <a:pt x="42414" y="241464"/>
                    <a:pt x="42020" y="233316"/>
                  </a:cubicBezTo>
                  <a:cubicBezTo>
                    <a:pt x="42020" y="233119"/>
                    <a:pt x="42020" y="232890"/>
                    <a:pt x="42020" y="232661"/>
                  </a:cubicBezTo>
                  <a:lnTo>
                    <a:pt x="42020" y="229388"/>
                  </a:lnTo>
                  <a:lnTo>
                    <a:pt x="66892" y="30091"/>
                  </a:lnTo>
                  <a:lnTo>
                    <a:pt x="12241" y="30091"/>
                  </a:lnTo>
                  <a:cubicBezTo>
                    <a:pt x="5565" y="30288"/>
                    <a:pt x="-31" y="25051"/>
                    <a:pt x="-228" y="18343"/>
                  </a:cubicBezTo>
                  <a:cubicBezTo>
                    <a:pt x="-228" y="17918"/>
                    <a:pt x="-228" y="17459"/>
                    <a:pt x="-195" y="17001"/>
                  </a:cubicBezTo>
                  <a:cubicBezTo>
                    <a:pt x="-555" y="7805"/>
                    <a:pt x="6611" y="17"/>
                    <a:pt x="15807" y="-343"/>
                  </a:cubicBezTo>
                  <a:cubicBezTo>
                    <a:pt x="15840" y="-343"/>
                    <a:pt x="15840" y="-343"/>
                    <a:pt x="15840" y="-343"/>
                  </a:cubicBezTo>
                  <a:lnTo>
                    <a:pt x="159505" y="-343"/>
                  </a:lnTo>
                  <a:cubicBezTo>
                    <a:pt x="166180" y="-539"/>
                    <a:pt x="171777" y="4696"/>
                    <a:pt x="171973" y="11405"/>
                  </a:cubicBezTo>
                  <a:cubicBezTo>
                    <a:pt x="172006" y="11831"/>
                    <a:pt x="171973" y="12289"/>
                    <a:pt x="171940" y="12747"/>
                  </a:cubicBezTo>
                  <a:cubicBezTo>
                    <a:pt x="171777" y="21779"/>
                    <a:pt x="164609" y="29077"/>
                    <a:pt x="155577" y="29437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4" name="Frihandsfigur: Form 43">
              <a:extLst>
                <a:ext uri="{FF2B5EF4-FFF2-40B4-BE49-F238E27FC236}">
                  <a16:creationId xmlns:a16="http://schemas.microsoft.com/office/drawing/2014/main" id="{AEBA735C-4415-48B4-A80C-3DC7C42937B7}"/>
                </a:ext>
              </a:extLst>
            </p:cNvPr>
            <p:cNvSpPr/>
            <p:nvPr/>
          </p:nvSpPr>
          <p:spPr>
            <a:xfrm>
              <a:off x="3402801" y="4229204"/>
              <a:ext cx="119119" cy="154152"/>
            </a:xfrm>
            <a:custGeom>
              <a:avLst/>
              <a:gdLst>
                <a:gd name="connsiteX0" fmla="*/ 97948 w 119119"/>
                <a:gd name="connsiteY0" fmla="*/ 41883 h 154152"/>
                <a:gd name="connsiteX1" fmla="*/ 76022 w 119119"/>
                <a:gd name="connsiteY1" fmla="*/ 35665 h 154152"/>
                <a:gd name="connsiteX2" fmla="*/ 40024 w 119119"/>
                <a:gd name="connsiteY2" fmla="*/ 72645 h 154152"/>
                <a:gd name="connsiteX3" fmla="*/ 32170 w 119119"/>
                <a:gd name="connsiteY3" fmla="*/ 138095 h 154152"/>
                <a:gd name="connsiteX4" fmla="*/ 13844 w 119119"/>
                <a:gd name="connsiteY4" fmla="*/ 153804 h 154152"/>
                <a:gd name="connsiteX5" fmla="*/ -228 w 119119"/>
                <a:gd name="connsiteY5" fmla="*/ 139731 h 154152"/>
                <a:gd name="connsiteX6" fmla="*/ -228 w 119119"/>
                <a:gd name="connsiteY6" fmla="*/ 138095 h 154152"/>
                <a:gd name="connsiteX7" fmla="*/ 14825 w 119119"/>
                <a:gd name="connsiteY7" fmla="*/ 15703 h 154152"/>
                <a:gd name="connsiteX8" fmla="*/ 32824 w 119119"/>
                <a:gd name="connsiteY8" fmla="*/ -333 h 154152"/>
                <a:gd name="connsiteX9" fmla="*/ 47223 w 119119"/>
                <a:gd name="connsiteY9" fmla="*/ 12725 h 154152"/>
                <a:gd name="connsiteX10" fmla="*/ 47223 w 119119"/>
                <a:gd name="connsiteY10" fmla="*/ 13740 h 154152"/>
                <a:gd name="connsiteX11" fmla="*/ 47223 w 119119"/>
                <a:gd name="connsiteY11" fmla="*/ 24866 h 154152"/>
                <a:gd name="connsiteX12" fmla="*/ 89439 w 119119"/>
                <a:gd name="connsiteY12" fmla="*/ 2612 h 154152"/>
                <a:gd name="connsiteX13" fmla="*/ 118892 w 119119"/>
                <a:gd name="connsiteY13" fmla="*/ 22575 h 154152"/>
                <a:gd name="connsiteX14" fmla="*/ 98963 w 119119"/>
                <a:gd name="connsiteY14" fmla="*/ 41916 h 154152"/>
                <a:gd name="connsiteX15" fmla="*/ 97948 w 119119"/>
                <a:gd name="connsiteY15" fmla="*/ 41883 h 15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119" h="154152">
                  <a:moveTo>
                    <a:pt x="97948" y="41883"/>
                  </a:moveTo>
                  <a:cubicBezTo>
                    <a:pt x="90749" y="41883"/>
                    <a:pt x="86822" y="35665"/>
                    <a:pt x="76022" y="35665"/>
                  </a:cubicBezTo>
                  <a:cubicBezTo>
                    <a:pt x="56845" y="38021"/>
                    <a:pt x="41889" y="53402"/>
                    <a:pt x="40024" y="72645"/>
                  </a:cubicBezTo>
                  <a:lnTo>
                    <a:pt x="32170" y="138095"/>
                  </a:lnTo>
                  <a:cubicBezTo>
                    <a:pt x="30599" y="147030"/>
                    <a:pt x="22909" y="153640"/>
                    <a:pt x="13844" y="153804"/>
                  </a:cubicBezTo>
                  <a:cubicBezTo>
                    <a:pt x="6088" y="153804"/>
                    <a:pt x="-228" y="147520"/>
                    <a:pt x="-228" y="139731"/>
                  </a:cubicBezTo>
                  <a:lnTo>
                    <a:pt x="-228" y="138095"/>
                  </a:lnTo>
                  <a:lnTo>
                    <a:pt x="14825" y="15703"/>
                  </a:lnTo>
                  <a:cubicBezTo>
                    <a:pt x="16233" y="6736"/>
                    <a:pt x="23760" y="28"/>
                    <a:pt x="32824" y="-333"/>
                  </a:cubicBezTo>
                  <a:cubicBezTo>
                    <a:pt x="40417" y="-693"/>
                    <a:pt x="46864" y="5165"/>
                    <a:pt x="47223" y="12725"/>
                  </a:cubicBezTo>
                  <a:cubicBezTo>
                    <a:pt x="47223" y="13084"/>
                    <a:pt x="47223" y="13412"/>
                    <a:pt x="47223" y="13740"/>
                  </a:cubicBezTo>
                  <a:cubicBezTo>
                    <a:pt x="47551" y="17437"/>
                    <a:pt x="47551" y="21168"/>
                    <a:pt x="47223" y="24866"/>
                  </a:cubicBezTo>
                  <a:cubicBezTo>
                    <a:pt x="57303" y="11546"/>
                    <a:pt x="72749" y="3398"/>
                    <a:pt x="89439" y="2612"/>
                  </a:cubicBezTo>
                  <a:cubicBezTo>
                    <a:pt x="101221" y="2612"/>
                    <a:pt x="118892" y="8176"/>
                    <a:pt x="118892" y="22575"/>
                  </a:cubicBezTo>
                  <a:cubicBezTo>
                    <a:pt x="118728" y="33407"/>
                    <a:pt x="109828" y="42080"/>
                    <a:pt x="98963" y="41916"/>
                  </a:cubicBezTo>
                  <a:cubicBezTo>
                    <a:pt x="98635" y="41916"/>
                    <a:pt x="98275" y="41916"/>
                    <a:pt x="97948" y="4188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5" name="Frihandsfigur: Form 44">
              <a:extLst>
                <a:ext uri="{FF2B5EF4-FFF2-40B4-BE49-F238E27FC236}">
                  <a16:creationId xmlns:a16="http://schemas.microsoft.com/office/drawing/2014/main" id="{F7F454B8-D4B0-478E-A523-EFE2A2E37440}"/>
                </a:ext>
              </a:extLst>
            </p:cNvPr>
            <p:cNvSpPr/>
            <p:nvPr/>
          </p:nvSpPr>
          <p:spPr>
            <a:xfrm>
              <a:off x="3517586" y="4227811"/>
              <a:ext cx="160516" cy="155440"/>
            </a:xfrm>
            <a:custGeom>
              <a:avLst/>
              <a:gdLst>
                <a:gd name="connsiteX0" fmla="*/ 70867 w 160516"/>
                <a:gd name="connsiteY0" fmla="*/ 154542 h 155440"/>
                <a:gd name="connsiteX1" fmla="*/ 311 w 160516"/>
                <a:gd name="connsiteY1" fmla="*/ 100512 h 155440"/>
                <a:gd name="connsiteX2" fmla="*/ -147 w 160516"/>
                <a:gd name="connsiteY2" fmla="*/ 89091 h 155440"/>
                <a:gd name="connsiteX3" fmla="*/ 82845 w 160516"/>
                <a:gd name="connsiteY3" fmla="*/ 45 h 155440"/>
                <a:gd name="connsiteX4" fmla="*/ 89847 w 160516"/>
                <a:gd name="connsiteY4" fmla="*/ 78 h 155440"/>
                <a:gd name="connsiteX5" fmla="*/ 159847 w 160516"/>
                <a:gd name="connsiteY5" fmla="*/ 55548 h 155440"/>
                <a:gd name="connsiteX6" fmla="*/ 160208 w 160516"/>
                <a:gd name="connsiteY6" fmla="*/ 65529 h 155440"/>
                <a:gd name="connsiteX7" fmla="*/ 78558 w 160516"/>
                <a:gd name="connsiteY7" fmla="*/ 154542 h 155440"/>
                <a:gd name="connsiteX8" fmla="*/ 70867 w 160516"/>
                <a:gd name="connsiteY8" fmla="*/ 154542 h 155440"/>
                <a:gd name="connsiteX9" fmla="*/ 86248 w 160516"/>
                <a:gd name="connsiteY9" fmla="*/ 27568 h 155440"/>
                <a:gd name="connsiteX10" fmla="*/ 32775 w 160516"/>
                <a:gd name="connsiteY10" fmla="*/ 83365 h 155440"/>
                <a:gd name="connsiteX11" fmla="*/ 32906 w 160516"/>
                <a:gd name="connsiteY11" fmla="*/ 86146 h 155440"/>
                <a:gd name="connsiteX12" fmla="*/ 67987 w 160516"/>
                <a:gd name="connsiteY12" fmla="*/ 128002 h 155440"/>
                <a:gd name="connsiteX13" fmla="*/ 74140 w 160516"/>
                <a:gd name="connsiteY13" fmla="*/ 128035 h 155440"/>
                <a:gd name="connsiteX14" fmla="*/ 127253 w 160516"/>
                <a:gd name="connsiteY14" fmla="*/ 71878 h 155440"/>
                <a:gd name="connsiteX15" fmla="*/ 127155 w 160516"/>
                <a:gd name="connsiteY15" fmla="*/ 69784 h 155440"/>
                <a:gd name="connsiteX16" fmla="*/ 91680 w 160516"/>
                <a:gd name="connsiteY16" fmla="*/ 27666 h 155440"/>
                <a:gd name="connsiteX17" fmla="*/ 86248 w 160516"/>
                <a:gd name="connsiteY17" fmla="*/ 27568 h 15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0516" h="155440">
                  <a:moveTo>
                    <a:pt x="70867" y="154542"/>
                  </a:moveTo>
                  <a:cubicBezTo>
                    <a:pt x="36473" y="159091"/>
                    <a:pt x="4893" y="134907"/>
                    <a:pt x="311" y="100512"/>
                  </a:cubicBezTo>
                  <a:cubicBezTo>
                    <a:pt x="-179" y="96716"/>
                    <a:pt x="-343" y="92920"/>
                    <a:pt x="-147" y="89091"/>
                  </a:cubicBezTo>
                  <a:cubicBezTo>
                    <a:pt x="-1816" y="41574"/>
                    <a:pt x="35327" y="1715"/>
                    <a:pt x="82845" y="45"/>
                  </a:cubicBezTo>
                  <a:cubicBezTo>
                    <a:pt x="85168" y="-52"/>
                    <a:pt x="87524" y="-19"/>
                    <a:pt x="89847" y="78"/>
                  </a:cubicBezTo>
                  <a:cubicBezTo>
                    <a:pt x="124504" y="-3946"/>
                    <a:pt x="155855" y="20924"/>
                    <a:pt x="159847" y="55548"/>
                  </a:cubicBezTo>
                  <a:cubicBezTo>
                    <a:pt x="160240" y="58886"/>
                    <a:pt x="160338" y="62191"/>
                    <a:pt x="160208" y="65529"/>
                  </a:cubicBezTo>
                  <a:cubicBezTo>
                    <a:pt x="162236" y="112654"/>
                    <a:pt x="125682" y="152514"/>
                    <a:pt x="78558" y="154542"/>
                  </a:cubicBezTo>
                  <a:cubicBezTo>
                    <a:pt x="76005" y="154673"/>
                    <a:pt x="73420" y="154673"/>
                    <a:pt x="70867" y="154542"/>
                  </a:cubicBezTo>
                  <a:close/>
                  <a:moveTo>
                    <a:pt x="86248" y="27568"/>
                  </a:moveTo>
                  <a:cubicBezTo>
                    <a:pt x="56075" y="28223"/>
                    <a:pt x="32121" y="53192"/>
                    <a:pt x="32775" y="83365"/>
                  </a:cubicBezTo>
                  <a:cubicBezTo>
                    <a:pt x="32808" y="84314"/>
                    <a:pt x="32841" y="85230"/>
                    <a:pt x="32906" y="86146"/>
                  </a:cubicBezTo>
                  <a:cubicBezTo>
                    <a:pt x="31040" y="107385"/>
                    <a:pt x="46749" y="126137"/>
                    <a:pt x="67987" y="128002"/>
                  </a:cubicBezTo>
                  <a:cubicBezTo>
                    <a:pt x="70049" y="128165"/>
                    <a:pt x="72111" y="128165"/>
                    <a:pt x="74140" y="128035"/>
                  </a:cubicBezTo>
                  <a:cubicBezTo>
                    <a:pt x="104313" y="127184"/>
                    <a:pt x="128104" y="102050"/>
                    <a:pt x="127253" y="71878"/>
                  </a:cubicBezTo>
                  <a:cubicBezTo>
                    <a:pt x="127221" y="71191"/>
                    <a:pt x="127188" y="70471"/>
                    <a:pt x="127155" y="69784"/>
                  </a:cubicBezTo>
                  <a:cubicBezTo>
                    <a:pt x="128987" y="48348"/>
                    <a:pt x="113116" y="29499"/>
                    <a:pt x="91680" y="27666"/>
                  </a:cubicBezTo>
                  <a:cubicBezTo>
                    <a:pt x="89880" y="27503"/>
                    <a:pt x="88048" y="27470"/>
                    <a:pt x="86248" y="2756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6" name="Frihandsfigur: Form 45">
              <a:extLst>
                <a:ext uri="{FF2B5EF4-FFF2-40B4-BE49-F238E27FC236}">
                  <a16:creationId xmlns:a16="http://schemas.microsoft.com/office/drawing/2014/main" id="{1BE71B7E-5EE7-4C72-8137-CAF85B8E7E97}"/>
                </a:ext>
              </a:extLst>
            </p:cNvPr>
            <p:cNvSpPr/>
            <p:nvPr/>
          </p:nvSpPr>
          <p:spPr>
            <a:xfrm>
              <a:off x="3694236" y="4228853"/>
              <a:ext cx="124175" cy="154208"/>
            </a:xfrm>
            <a:custGeom>
              <a:avLst/>
              <a:gdLst>
                <a:gd name="connsiteX0" fmla="*/ 122312 w 124175"/>
                <a:gd name="connsiteY0" fmla="*/ 20634 h 154208"/>
                <a:gd name="connsiteX1" fmla="*/ 56861 w 124175"/>
                <a:gd name="connsiteY1" fmla="*/ 144008 h 154208"/>
                <a:gd name="connsiteX2" fmla="*/ 40826 w 124175"/>
                <a:gd name="connsiteY2" fmla="*/ 153827 h 154208"/>
                <a:gd name="connsiteX3" fmla="*/ 27409 w 124175"/>
                <a:gd name="connsiteY3" fmla="*/ 143682 h 154208"/>
                <a:gd name="connsiteX4" fmla="*/ -80 w 124175"/>
                <a:gd name="connsiteY4" fmla="*/ 20962 h 154208"/>
                <a:gd name="connsiteX5" fmla="*/ -80 w 124175"/>
                <a:gd name="connsiteY5" fmla="*/ 17362 h 154208"/>
                <a:gd name="connsiteX6" fmla="*/ 15955 w 124175"/>
                <a:gd name="connsiteY6" fmla="*/ -309 h 154208"/>
                <a:gd name="connsiteX7" fmla="*/ 28718 w 124175"/>
                <a:gd name="connsiteY7" fmla="*/ 9180 h 154208"/>
                <a:gd name="connsiteX8" fmla="*/ 48680 w 124175"/>
                <a:gd name="connsiteY8" fmla="*/ 96230 h 154208"/>
                <a:gd name="connsiteX9" fmla="*/ 94823 w 124175"/>
                <a:gd name="connsiteY9" fmla="*/ 9508 h 154208"/>
                <a:gd name="connsiteX10" fmla="*/ 109876 w 124175"/>
                <a:gd name="connsiteY10" fmla="*/ -309 h 154208"/>
                <a:gd name="connsiteX11" fmla="*/ 123916 w 124175"/>
                <a:gd name="connsiteY11" fmla="*/ 11766 h 154208"/>
                <a:gd name="connsiteX12" fmla="*/ 123948 w 124175"/>
                <a:gd name="connsiteY12" fmla="*/ 13107 h 154208"/>
                <a:gd name="connsiteX13" fmla="*/ 122312 w 124175"/>
                <a:gd name="connsiteY13" fmla="*/ 20634 h 15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175" h="154208">
                  <a:moveTo>
                    <a:pt x="122312" y="20634"/>
                  </a:moveTo>
                  <a:lnTo>
                    <a:pt x="56861" y="144008"/>
                  </a:lnTo>
                  <a:cubicBezTo>
                    <a:pt x="53688" y="149932"/>
                    <a:pt x="47535" y="153696"/>
                    <a:pt x="40826" y="153827"/>
                  </a:cubicBezTo>
                  <a:cubicBezTo>
                    <a:pt x="34445" y="154285"/>
                    <a:pt x="28718" y="149965"/>
                    <a:pt x="27409" y="143682"/>
                  </a:cubicBezTo>
                  <a:lnTo>
                    <a:pt x="-80" y="20962"/>
                  </a:lnTo>
                  <a:cubicBezTo>
                    <a:pt x="-277" y="19783"/>
                    <a:pt x="-277" y="18540"/>
                    <a:pt x="-80" y="17362"/>
                  </a:cubicBezTo>
                  <a:cubicBezTo>
                    <a:pt x="-441" y="8068"/>
                    <a:pt x="6694" y="214"/>
                    <a:pt x="15955" y="-309"/>
                  </a:cubicBezTo>
                  <a:cubicBezTo>
                    <a:pt x="21911" y="-506"/>
                    <a:pt x="27179" y="3421"/>
                    <a:pt x="28718" y="9180"/>
                  </a:cubicBezTo>
                  <a:lnTo>
                    <a:pt x="48680" y="96230"/>
                  </a:lnTo>
                  <a:lnTo>
                    <a:pt x="94823" y="9508"/>
                  </a:lnTo>
                  <a:cubicBezTo>
                    <a:pt x="97571" y="3651"/>
                    <a:pt x="103397" y="-178"/>
                    <a:pt x="109876" y="-309"/>
                  </a:cubicBezTo>
                  <a:cubicBezTo>
                    <a:pt x="117076" y="-866"/>
                    <a:pt x="123360" y="4533"/>
                    <a:pt x="123916" y="11766"/>
                  </a:cubicBezTo>
                  <a:cubicBezTo>
                    <a:pt x="123948" y="12191"/>
                    <a:pt x="123948" y="12650"/>
                    <a:pt x="123948" y="13107"/>
                  </a:cubicBezTo>
                  <a:cubicBezTo>
                    <a:pt x="123850" y="15693"/>
                    <a:pt x="123327" y="18245"/>
                    <a:pt x="122312" y="20634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7" name="Frihandsfigur: Form 46">
              <a:extLst>
                <a:ext uri="{FF2B5EF4-FFF2-40B4-BE49-F238E27FC236}">
                  <a16:creationId xmlns:a16="http://schemas.microsoft.com/office/drawing/2014/main" id="{3FF17697-03E6-46D8-A13F-D885A418800F}"/>
                </a:ext>
              </a:extLst>
            </p:cNvPr>
            <p:cNvSpPr/>
            <p:nvPr/>
          </p:nvSpPr>
          <p:spPr>
            <a:xfrm>
              <a:off x="3817758" y="4161805"/>
              <a:ext cx="140718" cy="221194"/>
            </a:xfrm>
            <a:custGeom>
              <a:avLst/>
              <a:gdLst>
                <a:gd name="connsiteX0" fmla="*/ 139837 w 140718"/>
                <a:gd name="connsiteY0" fmla="*/ 115499 h 221194"/>
                <a:gd name="connsiteX1" fmla="*/ 129038 w 140718"/>
                <a:gd name="connsiteY1" fmla="*/ 204512 h 221194"/>
                <a:gd name="connsiteX2" fmla="*/ 111038 w 140718"/>
                <a:gd name="connsiteY2" fmla="*/ 220547 h 221194"/>
                <a:gd name="connsiteX3" fmla="*/ 96966 w 140718"/>
                <a:gd name="connsiteY3" fmla="*/ 207130 h 221194"/>
                <a:gd name="connsiteX4" fmla="*/ 96966 w 140718"/>
                <a:gd name="connsiteY4" fmla="*/ 206476 h 221194"/>
                <a:gd name="connsiteX5" fmla="*/ 96966 w 140718"/>
                <a:gd name="connsiteY5" fmla="*/ 204185 h 221194"/>
                <a:gd name="connsiteX6" fmla="*/ 45915 w 140718"/>
                <a:gd name="connsiteY6" fmla="*/ 220547 h 221194"/>
                <a:gd name="connsiteX7" fmla="*/ 67 w 140718"/>
                <a:gd name="connsiteY7" fmla="*/ 184517 h 221194"/>
                <a:gd name="connsiteX8" fmla="*/ -228 w 140718"/>
                <a:gd name="connsiteY8" fmla="*/ 180622 h 221194"/>
                <a:gd name="connsiteX9" fmla="*/ 78968 w 140718"/>
                <a:gd name="connsiteY9" fmla="*/ 121717 h 221194"/>
                <a:gd name="connsiteX10" fmla="*/ 106457 w 140718"/>
                <a:gd name="connsiteY10" fmla="*/ 123681 h 221194"/>
                <a:gd name="connsiteX11" fmla="*/ 106457 w 140718"/>
                <a:gd name="connsiteY11" fmla="*/ 116481 h 221194"/>
                <a:gd name="connsiteX12" fmla="*/ 73732 w 140718"/>
                <a:gd name="connsiteY12" fmla="*/ 95536 h 221194"/>
                <a:gd name="connsiteX13" fmla="*/ 41006 w 140718"/>
                <a:gd name="connsiteY13" fmla="*/ 104373 h 221194"/>
                <a:gd name="connsiteX14" fmla="*/ 34788 w 140718"/>
                <a:gd name="connsiteY14" fmla="*/ 106336 h 221194"/>
                <a:gd name="connsiteX15" fmla="*/ 22025 w 140718"/>
                <a:gd name="connsiteY15" fmla="*/ 93573 h 221194"/>
                <a:gd name="connsiteX16" fmla="*/ 32170 w 140718"/>
                <a:gd name="connsiteY16" fmla="*/ 78519 h 221194"/>
                <a:gd name="connsiteX17" fmla="*/ 86167 w 140718"/>
                <a:gd name="connsiteY17" fmla="*/ 68702 h 221194"/>
                <a:gd name="connsiteX18" fmla="*/ 140491 w 140718"/>
                <a:gd name="connsiteY18" fmla="*/ 108300 h 221194"/>
                <a:gd name="connsiteX19" fmla="*/ 139837 w 140718"/>
                <a:gd name="connsiteY19" fmla="*/ 115499 h 221194"/>
                <a:gd name="connsiteX20" fmla="*/ 81585 w 140718"/>
                <a:gd name="connsiteY20" fmla="*/ 144624 h 221194"/>
                <a:gd name="connsiteX21" fmla="*/ 33152 w 140718"/>
                <a:gd name="connsiteY21" fmla="*/ 173096 h 221194"/>
                <a:gd name="connsiteX22" fmla="*/ 57369 w 140718"/>
                <a:gd name="connsiteY22" fmla="*/ 192404 h 221194"/>
                <a:gd name="connsiteX23" fmla="*/ 99912 w 140718"/>
                <a:gd name="connsiteY23" fmla="*/ 179968 h 221194"/>
                <a:gd name="connsiteX24" fmla="*/ 103838 w 140718"/>
                <a:gd name="connsiteY24" fmla="*/ 147243 h 221194"/>
                <a:gd name="connsiteX25" fmla="*/ 81585 w 140718"/>
                <a:gd name="connsiteY25" fmla="*/ 144624 h 221194"/>
                <a:gd name="connsiteX26" fmla="*/ 57696 w 140718"/>
                <a:gd name="connsiteY26" fmla="*/ 41540 h 221194"/>
                <a:gd name="connsiteX27" fmla="*/ 36752 w 140718"/>
                <a:gd name="connsiteY27" fmla="*/ 20596 h 221194"/>
                <a:gd name="connsiteX28" fmla="*/ 57696 w 140718"/>
                <a:gd name="connsiteY28" fmla="*/ -349 h 221194"/>
                <a:gd name="connsiteX29" fmla="*/ 78640 w 140718"/>
                <a:gd name="connsiteY29" fmla="*/ 20596 h 221194"/>
                <a:gd name="connsiteX30" fmla="*/ 57696 w 140718"/>
                <a:gd name="connsiteY30" fmla="*/ 41540 h 221194"/>
                <a:gd name="connsiteX31" fmla="*/ 119547 w 140718"/>
                <a:gd name="connsiteY31" fmla="*/ 41540 h 221194"/>
                <a:gd name="connsiteX32" fmla="*/ 98602 w 140718"/>
                <a:gd name="connsiteY32" fmla="*/ 20596 h 221194"/>
                <a:gd name="connsiteX33" fmla="*/ 119547 w 140718"/>
                <a:gd name="connsiteY33" fmla="*/ -349 h 221194"/>
                <a:gd name="connsiteX34" fmla="*/ 140491 w 140718"/>
                <a:gd name="connsiteY34" fmla="*/ 20596 h 221194"/>
                <a:gd name="connsiteX35" fmla="*/ 119547 w 140718"/>
                <a:gd name="connsiteY35" fmla="*/ 41540 h 22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40718" h="221194">
                  <a:moveTo>
                    <a:pt x="139837" y="115499"/>
                  </a:moveTo>
                  <a:lnTo>
                    <a:pt x="129038" y="204512"/>
                  </a:lnTo>
                  <a:cubicBezTo>
                    <a:pt x="127761" y="213544"/>
                    <a:pt x="120136" y="220319"/>
                    <a:pt x="111038" y="220547"/>
                  </a:cubicBezTo>
                  <a:cubicBezTo>
                    <a:pt x="103446" y="220744"/>
                    <a:pt x="97163" y="214722"/>
                    <a:pt x="96966" y="207130"/>
                  </a:cubicBezTo>
                  <a:cubicBezTo>
                    <a:pt x="96966" y="206901"/>
                    <a:pt x="96966" y="206704"/>
                    <a:pt x="96966" y="206476"/>
                  </a:cubicBezTo>
                  <a:lnTo>
                    <a:pt x="96966" y="204185"/>
                  </a:lnTo>
                  <a:cubicBezTo>
                    <a:pt x="81651" y="213937"/>
                    <a:pt x="64044" y="219566"/>
                    <a:pt x="45915" y="220547"/>
                  </a:cubicBezTo>
                  <a:cubicBezTo>
                    <a:pt x="23301" y="223264"/>
                    <a:pt x="2783" y="207130"/>
                    <a:pt x="67" y="184517"/>
                  </a:cubicBezTo>
                  <a:cubicBezTo>
                    <a:pt x="-97" y="183241"/>
                    <a:pt x="-195" y="181932"/>
                    <a:pt x="-228" y="180622"/>
                  </a:cubicBezTo>
                  <a:cubicBezTo>
                    <a:pt x="-228" y="140043"/>
                    <a:pt x="44606" y="121717"/>
                    <a:pt x="78968" y="121717"/>
                  </a:cubicBezTo>
                  <a:cubicBezTo>
                    <a:pt x="88163" y="121717"/>
                    <a:pt x="97359" y="122371"/>
                    <a:pt x="106457" y="123681"/>
                  </a:cubicBezTo>
                  <a:cubicBezTo>
                    <a:pt x="106621" y="121292"/>
                    <a:pt x="106621" y="118870"/>
                    <a:pt x="106457" y="116481"/>
                  </a:cubicBezTo>
                  <a:cubicBezTo>
                    <a:pt x="106457" y="97827"/>
                    <a:pt x="89767" y="95536"/>
                    <a:pt x="73732" y="95536"/>
                  </a:cubicBezTo>
                  <a:cubicBezTo>
                    <a:pt x="62278" y="95897"/>
                    <a:pt x="51085" y="98908"/>
                    <a:pt x="41006" y="104373"/>
                  </a:cubicBezTo>
                  <a:cubicBezTo>
                    <a:pt x="39108" y="105518"/>
                    <a:pt x="36981" y="106205"/>
                    <a:pt x="34788" y="106336"/>
                  </a:cubicBezTo>
                  <a:cubicBezTo>
                    <a:pt x="27753" y="106336"/>
                    <a:pt x="22025" y="100609"/>
                    <a:pt x="22025" y="93573"/>
                  </a:cubicBezTo>
                  <a:cubicBezTo>
                    <a:pt x="22156" y="86995"/>
                    <a:pt x="26116" y="81105"/>
                    <a:pt x="32170" y="78519"/>
                  </a:cubicBezTo>
                  <a:cubicBezTo>
                    <a:pt x="49319" y="71647"/>
                    <a:pt x="67678" y="68309"/>
                    <a:pt x="86167" y="68702"/>
                  </a:cubicBezTo>
                  <a:cubicBezTo>
                    <a:pt x="112675" y="68702"/>
                    <a:pt x="140491" y="76556"/>
                    <a:pt x="140491" y="108300"/>
                  </a:cubicBezTo>
                  <a:cubicBezTo>
                    <a:pt x="140426" y="110721"/>
                    <a:pt x="140229" y="113110"/>
                    <a:pt x="139837" y="115499"/>
                  </a:cubicBezTo>
                  <a:close/>
                  <a:moveTo>
                    <a:pt x="81585" y="144624"/>
                  </a:moveTo>
                  <a:cubicBezTo>
                    <a:pt x="64895" y="144624"/>
                    <a:pt x="33152" y="150516"/>
                    <a:pt x="33152" y="173096"/>
                  </a:cubicBezTo>
                  <a:cubicBezTo>
                    <a:pt x="33152" y="186840"/>
                    <a:pt x="45261" y="192404"/>
                    <a:pt x="57369" y="192404"/>
                  </a:cubicBezTo>
                  <a:cubicBezTo>
                    <a:pt x="72389" y="192109"/>
                    <a:pt x="87083" y="187822"/>
                    <a:pt x="99912" y="179968"/>
                  </a:cubicBezTo>
                  <a:lnTo>
                    <a:pt x="103838" y="147243"/>
                  </a:lnTo>
                  <a:cubicBezTo>
                    <a:pt x="96574" y="145377"/>
                    <a:pt x="89080" y="144493"/>
                    <a:pt x="81585" y="144624"/>
                  </a:cubicBezTo>
                  <a:close/>
                  <a:moveTo>
                    <a:pt x="57696" y="41540"/>
                  </a:moveTo>
                  <a:cubicBezTo>
                    <a:pt x="46144" y="41540"/>
                    <a:pt x="36752" y="32148"/>
                    <a:pt x="36752" y="20596"/>
                  </a:cubicBezTo>
                  <a:cubicBezTo>
                    <a:pt x="36752" y="9044"/>
                    <a:pt x="46144" y="-349"/>
                    <a:pt x="57696" y="-349"/>
                  </a:cubicBezTo>
                  <a:cubicBezTo>
                    <a:pt x="69249" y="-349"/>
                    <a:pt x="78640" y="9011"/>
                    <a:pt x="78640" y="20596"/>
                  </a:cubicBezTo>
                  <a:cubicBezTo>
                    <a:pt x="78640" y="32148"/>
                    <a:pt x="69249" y="41540"/>
                    <a:pt x="57696" y="41540"/>
                  </a:cubicBezTo>
                  <a:close/>
                  <a:moveTo>
                    <a:pt x="119547" y="41540"/>
                  </a:moveTo>
                  <a:cubicBezTo>
                    <a:pt x="107995" y="41540"/>
                    <a:pt x="98602" y="32148"/>
                    <a:pt x="98602" y="20596"/>
                  </a:cubicBezTo>
                  <a:cubicBezTo>
                    <a:pt x="98602" y="9044"/>
                    <a:pt x="107995" y="-349"/>
                    <a:pt x="119547" y="-349"/>
                  </a:cubicBezTo>
                  <a:cubicBezTo>
                    <a:pt x="131099" y="-349"/>
                    <a:pt x="140491" y="9011"/>
                    <a:pt x="140491" y="20596"/>
                  </a:cubicBezTo>
                  <a:cubicBezTo>
                    <a:pt x="140491" y="32148"/>
                    <a:pt x="131099" y="41540"/>
                    <a:pt x="119547" y="4154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8" name="Frihandsfigur: Form 47">
              <a:extLst>
                <a:ext uri="{FF2B5EF4-FFF2-40B4-BE49-F238E27FC236}">
                  <a16:creationId xmlns:a16="http://schemas.microsoft.com/office/drawing/2014/main" id="{11410F2E-6D91-4DB0-AE7A-7F66F0284154}"/>
                </a:ext>
              </a:extLst>
            </p:cNvPr>
            <p:cNvSpPr/>
            <p:nvPr/>
          </p:nvSpPr>
          <p:spPr>
            <a:xfrm>
              <a:off x="3983348" y="4229182"/>
              <a:ext cx="117811" cy="154174"/>
            </a:xfrm>
            <a:custGeom>
              <a:avLst/>
              <a:gdLst>
                <a:gd name="connsiteX0" fmla="*/ 97948 w 117811"/>
                <a:gd name="connsiteY0" fmla="*/ 41905 h 154174"/>
                <a:gd name="connsiteX1" fmla="*/ 76023 w 117811"/>
                <a:gd name="connsiteY1" fmla="*/ 35687 h 154174"/>
                <a:gd name="connsiteX2" fmla="*/ 40351 w 117811"/>
                <a:gd name="connsiteY2" fmla="*/ 72667 h 154174"/>
                <a:gd name="connsiteX3" fmla="*/ 32170 w 117811"/>
                <a:gd name="connsiteY3" fmla="*/ 138117 h 154174"/>
                <a:gd name="connsiteX4" fmla="*/ 14171 w 117811"/>
                <a:gd name="connsiteY4" fmla="*/ 153826 h 154174"/>
                <a:gd name="connsiteX5" fmla="*/ -228 w 117811"/>
                <a:gd name="connsiteY5" fmla="*/ 139753 h 154174"/>
                <a:gd name="connsiteX6" fmla="*/ -228 w 117811"/>
                <a:gd name="connsiteY6" fmla="*/ 138117 h 154174"/>
                <a:gd name="connsiteX7" fmla="*/ 15153 w 117811"/>
                <a:gd name="connsiteY7" fmla="*/ 15725 h 154174"/>
                <a:gd name="connsiteX8" fmla="*/ 32825 w 117811"/>
                <a:gd name="connsiteY8" fmla="*/ -311 h 154174"/>
                <a:gd name="connsiteX9" fmla="*/ 47519 w 117811"/>
                <a:gd name="connsiteY9" fmla="*/ 12419 h 154174"/>
                <a:gd name="connsiteX10" fmla="*/ 47551 w 117811"/>
                <a:gd name="connsiteY10" fmla="*/ 13761 h 154174"/>
                <a:gd name="connsiteX11" fmla="*/ 45915 w 117811"/>
                <a:gd name="connsiteY11" fmla="*/ 24888 h 154174"/>
                <a:gd name="connsiteX12" fmla="*/ 88131 w 117811"/>
                <a:gd name="connsiteY12" fmla="*/ 2634 h 154174"/>
                <a:gd name="connsiteX13" fmla="*/ 117584 w 117811"/>
                <a:gd name="connsiteY13" fmla="*/ 22597 h 154174"/>
                <a:gd name="connsiteX14" fmla="*/ 97948 w 117811"/>
                <a:gd name="connsiteY14" fmla="*/ 41905 h 154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7811" h="154174">
                  <a:moveTo>
                    <a:pt x="97948" y="41905"/>
                  </a:moveTo>
                  <a:cubicBezTo>
                    <a:pt x="90749" y="41905"/>
                    <a:pt x="87149" y="35687"/>
                    <a:pt x="76023" y="35687"/>
                  </a:cubicBezTo>
                  <a:cubicBezTo>
                    <a:pt x="56846" y="37945"/>
                    <a:pt x="41922" y="53424"/>
                    <a:pt x="40351" y="72667"/>
                  </a:cubicBezTo>
                  <a:lnTo>
                    <a:pt x="32170" y="138117"/>
                  </a:lnTo>
                  <a:cubicBezTo>
                    <a:pt x="30632" y="146953"/>
                    <a:pt x="23138" y="153498"/>
                    <a:pt x="14171" y="153826"/>
                  </a:cubicBezTo>
                  <a:cubicBezTo>
                    <a:pt x="6350" y="153826"/>
                    <a:pt x="-64" y="147575"/>
                    <a:pt x="-228" y="139753"/>
                  </a:cubicBezTo>
                  <a:lnTo>
                    <a:pt x="-228" y="138117"/>
                  </a:lnTo>
                  <a:lnTo>
                    <a:pt x="15153" y="15725"/>
                  </a:lnTo>
                  <a:cubicBezTo>
                    <a:pt x="16396" y="6823"/>
                    <a:pt x="23826" y="81"/>
                    <a:pt x="32825" y="-311"/>
                  </a:cubicBezTo>
                  <a:cubicBezTo>
                    <a:pt x="40384" y="-867"/>
                    <a:pt x="46963" y="4827"/>
                    <a:pt x="47519" y="12419"/>
                  </a:cubicBezTo>
                  <a:cubicBezTo>
                    <a:pt x="47551" y="12878"/>
                    <a:pt x="47551" y="13303"/>
                    <a:pt x="47551" y="13761"/>
                  </a:cubicBezTo>
                  <a:cubicBezTo>
                    <a:pt x="47486" y="17525"/>
                    <a:pt x="46930" y="21255"/>
                    <a:pt x="45915" y="24888"/>
                  </a:cubicBezTo>
                  <a:cubicBezTo>
                    <a:pt x="55995" y="11568"/>
                    <a:pt x="71441" y="3420"/>
                    <a:pt x="88131" y="2634"/>
                  </a:cubicBezTo>
                  <a:cubicBezTo>
                    <a:pt x="100239" y="2634"/>
                    <a:pt x="117584" y="8198"/>
                    <a:pt x="117584" y="22597"/>
                  </a:cubicBezTo>
                  <a:cubicBezTo>
                    <a:pt x="117420" y="33298"/>
                    <a:pt x="108682" y="41905"/>
                    <a:pt x="97948" y="4190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49" name="Frihandsfigur: Form 48">
              <a:extLst>
                <a:ext uri="{FF2B5EF4-FFF2-40B4-BE49-F238E27FC236}">
                  <a16:creationId xmlns:a16="http://schemas.microsoft.com/office/drawing/2014/main" id="{E06C2213-38DA-41D1-AD57-71438930A684}"/>
                </a:ext>
              </a:extLst>
            </p:cNvPr>
            <p:cNvSpPr/>
            <p:nvPr/>
          </p:nvSpPr>
          <p:spPr>
            <a:xfrm>
              <a:off x="4097657" y="4132025"/>
              <a:ext cx="163856" cy="250676"/>
            </a:xfrm>
            <a:custGeom>
              <a:avLst/>
              <a:gdLst>
                <a:gd name="connsiteX0" fmla="*/ 136794 w 163856"/>
                <a:gd name="connsiteY0" fmla="*/ 235274 h 250676"/>
                <a:gd name="connsiteX1" fmla="*/ 119777 w 163856"/>
                <a:gd name="connsiteY1" fmla="*/ 250327 h 250676"/>
                <a:gd name="connsiteX2" fmla="*/ 106687 w 163856"/>
                <a:gd name="connsiteY2" fmla="*/ 237237 h 250676"/>
                <a:gd name="connsiteX3" fmla="*/ 106687 w 163856"/>
                <a:gd name="connsiteY3" fmla="*/ 231347 h 250676"/>
                <a:gd name="connsiteX4" fmla="*/ 57272 w 163856"/>
                <a:gd name="connsiteY4" fmla="*/ 250001 h 250676"/>
                <a:gd name="connsiteX5" fmla="*/ -226 w 163856"/>
                <a:gd name="connsiteY5" fmla="*/ 191651 h 250676"/>
                <a:gd name="connsiteX6" fmla="*/ 2 w 163856"/>
                <a:gd name="connsiteY6" fmla="*/ 186840 h 250676"/>
                <a:gd name="connsiteX7" fmla="*/ 78871 w 163856"/>
                <a:gd name="connsiteY7" fmla="*/ 99464 h 250676"/>
                <a:gd name="connsiteX8" fmla="*/ 119123 w 163856"/>
                <a:gd name="connsiteY8" fmla="*/ 113863 h 250676"/>
                <a:gd name="connsiteX9" fmla="*/ 131231 w 163856"/>
                <a:gd name="connsiteY9" fmla="*/ 15687 h 250676"/>
                <a:gd name="connsiteX10" fmla="*/ 149230 w 163856"/>
                <a:gd name="connsiteY10" fmla="*/ -349 h 250676"/>
                <a:gd name="connsiteX11" fmla="*/ 163629 w 163856"/>
                <a:gd name="connsiteY11" fmla="*/ 13724 h 250676"/>
                <a:gd name="connsiteX12" fmla="*/ 136794 w 163856"/>
                <a:gd name="connsiteY12" fmla="*/ 235274 h 250676"/>
                <a:gd name="connsiteX13" fmla="*/ 78871 w 163856"/>
                <a:gd name="connsiteY13" fmla="*/ 128263 h 250676"/>
                <a:gd name="connsiteX14" fmla="*/ 33055 w 163856"/>
                <a:gd name="connsiteY14" fmla="*/ 182586 h 250676"/>
                <a:gd name="connsiteX15" fmla="*/ 63915 w 163856"/>
                <a:gd name="connsiteY15" fmla="*/ 221300 h 250676"/>
                <a:gd name="connsiteX16" fmla="*/ 67744 w 163856"/>
                <a:gd name="connsiteY16" fmla="*/ 221529 h 250676"/>
                <a:gd name="connsiteX17" fmla="*/ 114410 w 163856"/>
                <a:gd name="connsiteY17" fmla="*/ 168875 h 250676"/>
                <a:gd name="connsiteX18" fmla="*/ 114213 w 163856"/>
                <a:gd name="connsiteY18" fmla="*/ 166551 h 250676"/>
                <a:gd name="connsiteX19" fmla="*/ 83321 w 163856"/>
                <a:gd name="connsiteY19" fmla="*/ 128425 h 250676"/>
                <a:gd name="connsiteX20" fmla="*/ 78871 w 163856"/>
                <a:gd name="connsiteY20" fmla="*/ 128263 h 2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3856" h="250676">
                  <a:moveTo>
                    <a:pt x="136794" y="235274"/>
                  </a:moveTo>
                  <a:cubicBezTo>
                    <a:pt x="135648" y="243815"/>
                    <a:pt x="128417" y="250230"/>
                    <a:pt x="119777" y="250327"/>
                  </a:cubicBezTo>
                  <a:cubicBezTo>
                    <a:pt x="112611" y="250164"/>
                    <a:pt x="106851" y="244404"/>
                    <a:pt x="106687" y="237237"/>
                  </a:cubicBezTo>
                  <a:cubicBezTo>
                    <a:pt x="106687" y="235274"/>
                    <a:pt x="106687" y="233311"/>
                    <a:pt x="106687" y="231347"/>
                  </a:cubicBezTo>
                  <a:cubicBezTo>
                    <a:pt x="93106" y="243520"/>
                    <a:pt x="75500" y="250164"/>
                    <a:pt x="57272" y="250001"/>
                  </a:cubicBezTo>
                  <a:cubicBezTo>
                    <a:pt x="25266" y="249771"/>
                    <a:pt x="-456" y="223656"/>
                    <a:pt x="-226" y="191651"/>
                  </a:cubicBezTo>
                  <a:cubicBezTo>
                    <a:pt x="-226" y="190048"/>
                    <a:pt x="-128" y="188444"/>
                    <a:pt x="2" y="186840"/>
                  </a:cubicBezTo>
                  <a:cubicBezTo>
                    <a:pt x="-1339" y="141287"/>
                    <a:pt x="33415" y="102769"/>
                    <a:pt x="78871" y="99464"/>
                  </a:cubicBezTo>
                  <a:cubicBezTo>
                    <a:pt x="93728" y="98221"/>
                    <a:pt x="108422" y="103489"/>
                    <a:pt x="119123" y="113863"/>
                  </a:cubicBezTo>
                  <a:lnTo>
                    <a:pt x="131231" y="15687"/>
                  </a:lnTo>
                  <a:cubicBezTo>
                    <a:pt x="132377" y="6589"/>
                    <a:pt x="140067" y="-250"/>
                    <a:pt x="149230" y="-349"/>
                  </a:cubicBezTo>
                  <a:cubicBezTo>
                    <a:pt x="157052" y="-349"/>
                    <a:pt x="163465" y="5902"/>
                    <a:pt x="163629" y="13724"/>
                  </a:cubicBezTo>
                  <a:cubicBezTo>
                    <a:pt x="163629" y="13724"/>
                    <a:pt x="163629" y="16014"/>
                    <a:pt x="136794" y="235274"/>
                  </a:cubicBezTo>
                  <a:close/>
                  <a:moveTo>
                    <a:pt x="78871" y="128263"/>
                  </a:moveTo>
                  <a:cubicBezTo>
                    <a:pt x="51251" y="130683"/>
                    <a:pt x="30797" y="154966"/>
                    <a:pt x="33055" y="182586"/>
                  </a:cubicBezTo>
                  <a:cubicBezTo>
                    <a:pt x="30895" y="201796"/>
                    <a:pt x="44705" y="219140"/>
                    <a:pt x="63915" y="221300"/>
                  </a:cubicBezTo>
                  <a:cubicBezTo>
                    <a:pt x="65191" y="221464"/>
                    <a:pt x="66468" y="221529"/>
                    <a:pt x="67744" y="221529"/>
                  </a:cubicBezTo>
                  <a:cubicBezTo>
                    <a:pt x="95167" y="219893"/>
                    <a:pt x="116046" y="196298"/>
                    <a:pt x="114410" y="168875"/>
                  </a:cubicBezTo>
                  <a:cubicBezTo>
                    <a:pt x="114377" y="168122"/>
                    <a:pt x="114312" y="167337"/>
                    <a:pt x="114213" y="166551"/>
                  </a:cubicBezTo>
                  <a:cubicBezTo>
                    <a:pt x="116210" y="147504"/>
                    <a:pt x="102367" y="130422"/>
                    <a:pt x="83321" y="128425"/>
                  </a:cubicBezTo>
                  <a:cubicBezTo>
                    <a:pt x="81849" y="128295"/>
                    <a:pt x="80344" y="128230"/>
                    <a:pt x="78871" y="12826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0" name="Frihandsfigur: Form 49">
              <a:extLst>
                <a:ext uri="{FF2B5EF4-FFF2-40B4-BE49-F238E27FC236}">
                  <a16:creationId xmlns:a16="http://schemas.microsoft.com/office/drawing/2014/main" id="{38D1ABCB-68A7-4B2E-8684-E9D7133E978C}"/>
                </a:ext>
              </a:extLst>
            </p:cNvPr>
            <p:cNvSpPr/>
            <p:nvPr/>
          </p:nvSpPr>
          <p:spPr>
            <a:xfrm>
              <a:off x="4274277" y="4160824"/>
              <a:ext cx="59559" cy="221877"/>
            </a:xfrm>
            <a:custGeom>
              <a:avLst/>
              <a:gdLst>
                <a:gd name="connsiteX0" fmla="*/ 32170 w 59559"/>
                <a:gd name="connsiteY0" fmla="*/ 205166 h 221877"/>
                <a:gd name="connsiteX1" fmla="*/ 13844 w 59559"/>
                <a:gd name="connsiteY1" fmla="*/ 221529 h 221877"/>
                <a:gd name="connsiteX2" fmla="*/ -228 w 59559"/>
                <a:gd name="connsiteY2" fmla="*/ 207457 h 221877"/>
                <a:gd name="connsiteX3" fmla="*/ -228 w 59559"/>
                <a:gd name="connsiteY3" fmla="*/ 207130 h 221877"/>
                <a:gd name="connsiteX4" fmla="*/ 14498 w 59559"/>
                <a:gd name="connsiteY4" fmla="*/ 85391 h 221877"/>
                <a:gd name="connsiteX5" fmla="*/ 32497 w 59559"/>
                <a:gd name="connsiteY5" fmla="*/ 69356 h 221877"/>
                <a:gd name="connsiteX6" fmla="*/ 47223 w 59559"/>
                <a:gd name="connsiteY6" fmla="*/ 83101 h 221877"/>
                <a:gd name="connsiteX7" fmla="*/ 32170 w 59559"/>
                <a:gd name="connsiteY7" fmla="*/ 205166 h 221877"/>
                <a:gd name="connsiteX8" fmla="*/ 38388 w 59559"/>
                <a:gd name="connsiteY8" fmla="*/ 41540 h 221877"/>
                <a:gd name="connsiteX9" fmla="*/ 17443 w 59559"/>
                <a:gd name="connsiteY9" fmla="*/ 20596 h 221877"/>
                <a:gd name="connsiteX10" fmla="*/ 38388 w 59559"/>
                <a:gd name="connsiteY10" fmla="*/ -349 h 221877"/>
                <a:gd name="connsiteX11" fmla="*/ 59331 w 59559"/>
                <a:gd name="connsiteY11" fmla="*/ 20596 h 221877"/>
                <a:gd name="connsiteX12" fmla="*/ 59331 w 59559"/>
                <a:gd name="connsiteY12" fmla="*/ 20923 h 221877"/>
                <a:gd name="connsiteX13" fmla="*/ 38388 w 59559"/>
                <a:gd name="connsiteY13" fmla="*/ 40886 h 22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559" h="221877">
                  <a:moveTo>
                    <a:pt x="32170" y="205166"/>
                  </a:moveTo>
                  <a:cubicBezTo>
                    <a:pt x="30665" y="214231"/>
                    <a:pt x="23040" y="221039"/>
                    <a:pt x="13844" y="221529"/>
                  </a:cubicBezTo>
                  <a:cubicBezTo>
                    <a:pt x="6088" y="221529"/>
                    <a:pt x="-228" y="215246"/>
                    <a:pt x="-228" y="207457"/>
                  </a:cubicBezTo>
                  <a:cubicBezTo>
                    <a:pt x="-228" y="207359"/>
                    <a:pt x="-228" y="207229"/>
                    <a:pt x="-228" y="207130"/>
                  </a:cubicBezTo>
                  <a:cubicBezTo>
                    <a:pt x="-228" y="207130"/>
                    <a:pt x="-228" y="207130"/>
                    <a:pt x="14498" y="85391"/>
                  </a:cubicBezTo>
                  <a:cubicBezTo>
                    <a:pt x="15774" y="76359"/>
                    <a:pt x="23399" y="69585"/>
                    <a:pt x="32497" y="69356"/>
                  </a:cubicBezTo>
                  <a:cubicBezTo>
                    <a:pt x="40318" y="69160"/>
                    <a:pt x="46864" y="75280"/>
                    <a:pt x="47223" y="83101"/>
                  </a:cubicBezTo>
                  <a:cubicBezTo>
                    <a:pt x="47223" y="83101"/>
                    <a:pt x="47223" y="84737"/>
                    <a:pt x="32170" y="205166"/>
                  </a:cubicBezTo>
                  <a:close/>
                  <a:moveTo>
                    <a:pt x="38388" y="41540"/>
                  </a:moveTo>
                  <a:cubicBezTo>
                    <a:pt x="26836" y="41540"/>
                    <a:pt x="17443" y="32148"/>
                    <a:pt x="17443" y="20596"/>
                  </a:cubicBezTo>
                  <a:cubicBezTo>
                    <a:pt x="17443" y="9011"/>
                    <a:pt x="26836" y="-349"/>
                    <a:pt x="38388" y="-349"/>
                  </a:cubicBezTo>
                  <a:cubicBezTo>
                    <a:pt x="49973" y="-349"/>
                    <a:pt x="59331" y="9044"/>
                    <a:pt x="59331" y="20596"/>
                  </a:cubicBezTo>
                  <a:cubicBezTo>
                    <a:pt x="59331" y="20694"/>
                    <a:pt x="59331" y="20825"/>
                    <a:pt x="59331" y="20923"/>
                  </a:cubicBezTo>
                  <a:cubicBezTo>
                    <a:pt x="58972" y="32181"/>
                    <a:pt x="49645" y="41081"/>
                    <a:pt x="38388" y="4088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1" name="Frihandsfigur: Form 50">
              <a:extLst>
                <a:ext uri="{FF2B5EF4-FFF2-40B4-BE49-F238E27FC236}">
                  <a16:creationId xmlns:a16="http://schemas.microsoft.com/office/drawing/2014/main" id="{0D721086-AEB5-4BC9-BD87-096CE49BB5A2}"/>
                </a:ext>
              </a:extLst>
            </p:cNvPr>
            <p:cNvSpPr/>
            <p:nvPr/>
          </p:nvSpPr>
          <p:spPr>
            <a:xfrm>
              <a:off x="4336455" y="4232690"/>
              <a:ext cx="155445" cy="215167"/>
            </a:xfrm>
            <a:custGeom>
              <a:avLst/>
              <a:gdLst>
                <a:gd name="connsiteX0" fmla="*/ 140164 w 155445"/>
                <a:gd name="connsiteY0" fmla="*/ 136573 h 215167"/>
                <a:gd name="connsiteX1" fmla="*/ 62637 w 155445"/>
                <a:gd name="connsiteY1" fmla="*/ 214819 h 215167"/>
                <a:gd name="connsiteX2" fmla="*/ 59987 w 155445"/>
                <a:gd name="connsiteY2" fmla="*/ 214787 h 215167"/>
                <a:gd name="connsiteX3" fmla="*/ -228 w 155445"/>
                <a:gd name="connsiteY3" fmla="*/ 189916 h 215167"/>
                <a:gd name="connsiteX4" fmla="*/ 16789 w 155445"/>
                <a:gd name="connsiteY4" fmla="*/ 172244 h 215167"/>
                <a:gd name="connsiteX5" fmla="*/ 23989 w 155445"/>
                <a:gd name="connsiteY5" fmla="*/ 174535 h 215167"/>
                <a:gd name="connsiteX6" fmla="*/ 60641 w 155445"/>
                <a:gd name="connsiteY6" fmla="*/ 186315 h 215167"/>
                <a:gd name="connsiteX7" fmla="*/ 106129 w 155445"/>
                <a:gd name="connsiteY7" fmla="*/ 146390 h 215167"/>
                <a:gd name="connsiteX8" fmla="*/ 108093 w 155445"/>
                <a:gd name="connsiteY8" fmla="*/ 134937 h 215167"/>
                <a:gd name="connsiteX9" fmla="*/ 59332 w 155445"/>
                <a:gd name="connsiteY9" fmla="*/ 150645 h 215167"/>
                <a:gd name="connsiteX10" fmla="*/ 3994 w 155445"/>
                <a:gd name="connsiteY10" fmla="*/ 89612 h 215167"/>
                <a:gd name="connsiteX11" fmla="*/ 4027 w 155445"/>
                <a:gd name="connsiteY11" fmla="*/ 89121 h 215167"/>
                <a:gd name="connsiteX12" fmla="*/ 81258 w 155445"/>
                <a:gd name="connsiteY12" fmla="*/ 108 h 215167"/>
                <a:gd name="connsiteX13" fmla="*/ 122492 w 155445"/>
                <a:gd name="connsiteY13" fmla="*/ 16471 h 215167"/>
                <a:gd name="connsiteX14" fmla="*/ 140491 w 155445"/>
                <a:gd name="connsiteY14" fmla="*/ 108 h 215167"/>
                <a:gd name="connsiteX15" fmla="*/ 155217 w 155445"/>
                <a:gd name="connsiteY15" fmla="*/ 14181 h 215167"/>
                <a:gd name="connsiteX16" fmla="*/ 155217 w 155445"/>
                <a:gd name="connsiteY16" fmla="*/ 14181 h 215167"/>
                <a:gd name="connsiteX17" fmla="*/ 82240 w 155445"/>
                <a:gd name="connsiteY17" fmla="*/ 28906 h 215167"/>
                <a:gd name="connsiteX18" fmla="*/ 36097 w 155445"/>
                <a:gd name="connsiteY18" fmla="*/ 83820 h 215167"/>
                <a:gd name="connsiteX19" fmla="*/ 36097 w 155445"/>
                <a:gd name="connsiteY19" fmla="*/ 83886 h 215167"/>
                <a:gd name="connsiteX20" fmla="*/ 68004 w 155445"/>
                <a:gd name="connsiteY20" fmla="*/ 122371 h 215167"/>
                <a:gd name="connsiteX21" fmla="*/ 70459 w 155445"/>
                <a:gd name="connsiteY21" fmla="*/ 122501 h 215167"/>
                <a:gd name="connsiteX22" fmla="*/ 117584 w 155445"/>
                <a:gd name="connsiteY22" fmla="*/ 66540 h 215167"/>
                <a:gd name="connsiteX23" fmla="*/ 91861 w 155445"/>
                <a:gd name="connsiteY23" fmla="*/ 28056 h 215167"/>
                <a:gd name="connsiteX24" fmla="*/ 82240 w 155445"/>
                <a:gd name="connsiteY24" fmla="*/ 27598 h 21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5445" h="215167">
                  <a:moveTo>
                    <a:pt x="140164" y="136573"/>
                  </a:moveTo>
                  <a:cubicBezTo>
                    <a:pt x="140360" y="179574"/>
                    <a:pt x="105638" y="214623"/>
                    <a:pt x="62637" y="214819"/>
                  </a:cubicBezTo>
                  <a:cubicBezTo>
                    <a:pt x="61753" y="214819"/>
                    <a:pt x="60870" y="214819"/>
                    <a:pt x="59987" y="214787"/>
                  </a:cubicBezTo>
                  <a:cubicBezTo>
                    <a:pt x="45915" y="214787"/>
                    <a:pt x="-228" y="208569"/>
                    <a:pt x="-228" y="189916"/>
                  </a:cubicBezTo>
                  <a:cubicBezTo>
                    <a:pt x="-64" y="180458"/>
                    <a:pt x="7364" y="172767"/>
                    <a:pt x="16789" y="172244"/>
                  </a:cubicBezTo>
                  <a:cubicBezTo>
                    <a:pt x="19342" y="172472"/>
                    <a:pt x="21796" y="173225"/>
                    <a:pt x="23989" y="174535"/>
                  </a:cubicBezTo>
                  <a:cubicBezTo>
                    <a:pt x="34951" y="181636"/>
                    <a:pt x="47584" y="185694"/>
                    <a:pt x="60641" y="186315"/>
                  </a:cubicBezTo>
                  <a:cubicBezTo>
                    <a:pt x="83582" y="186054"/>
                    <a:pt x="102890" y="169102"/>
                    <a:pt x="106129" y="146390"/>
                  </a:cubicBezTo>
                  <a:cubicBezTo>
                    <a:pt x="106129" y="141482"/>
                    <a:pt x="108093" y="134937"/>
                    <a:pt x="108093" y="134937"/>
                  </a:cubicBezTo>
                  <a:cubicBezTo>
                    <a:pt x="94119" y="145605"/>
                    <a:pt x="76906" y="151136"/>
                    <a:pt x="59332" y="150645"/>
                  </a:cubicBezTo>
                  <a:cubicBezTo>
                    <a:pt x="27195" y="149074"/>
                    <a:pt x="2423" y="121748"/>
                    <a:pt x="3994" y="89612"/>
                  </a:cubicBezTo>
                  <a:cubicBezTo>
                    <a:pt x="3994" y="89449"/>
                    <a:pt x="4027" y="89285"/>
                    <a:pt x="4027" y="89121"/>
                  </a:cubicBezTo>
                  <a:cubicBezTo>
                    <a:pt x="2226" y="43731"/>
                    <a:pt x="36065" y="4723"/>
                    <a:pt x="81258" y="108"/>
                  </a:cubicBezTo>
                  <a:cubicBezTo>
                    <a:pt x="96933" y="-2150"/>
                    <a:pt x="112642" y="4068"/>
                    <a:pt x="122492" y="16471"/>
                  </a:cubicBezTo>
                  <a:cubicBezTo>
                    <a:pt x="123735" y="7374"/>
                    <a:pt x="131328" y="501"/>
                    <a:pt x="140491" y="108"/>
                  </a:cubicBezTo>
                  <a:cubicBezTo>
                    <a:pt x="148443" y="-88"/>
                    <a:pt x="155021" y="6228"/>
                    <a:pt x="155217" y="14181"/>
                  </a:cubicBezTo>
                  <a:cubicBezTo>
                    <a:pt x="155217" y="14181"/>
                    <a:pt x="155217" y="14181"/>
                    <a:pt x="155217" y="14181"/>
                  </a:cubicBezTo>
                  <a:close/>
                  <a:moveTo>
                    <a:pt x="82240" y="28906"/>
                  </a:moveTo>
                  <a:cubicBezTo>
                    <a:pt x="54325" y="31328"/>
                    <a:pt x="33675" y="55905"/>
                    <a:pt x="36097" y="83820"/>
                  </a:cubicBezTo>
                  <a:cubicBezTo>
                    <a:pt x="36097" y="83853"/>
                    <a:pt x="36097" y="83853"/>
                    <a:pt x="36097" y="83886"/>
                  </a:cubicBezTo>
                  <a:cubicBezTo>
                    <a:pt x="34297" y="103324"/>
                    <a:pt x="48565" y="120538"/>
                    <a:pt x="68004" y="122371"/>
                  </a:cubicBezTo>
                  <a:cubicBezTo>
                    <a:pt x="68822" y="122435"/>
                    <a:pt x="69641" y="122468"/>
                    <a:pt x="70459" y="122501"/>
                  </a:cubicBezTo>
                  <a:cubicBezTo>
                    <a:pt x="103184" y="122501"/>
                    <a:pt x="117584" y="95666"/>
                    <a:pt x="117584" y="66540"/>
                  </a:cubicBezTo>
                  <a:cubicBezTo>
                    <a:pt x="121118" y="48804"/>
                    <a:pt x="109598" y="31590"/>
                    <a:pt x="91861" y="28056"/>
                  </a:cubicBezTo>
                  <a:cubicBezTo>
                    <a:pt x="88686" y="27434"/>
                    <a:pt x="85446" y="27271"/>
                    <a:pt x="82240" y="2759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2" name="Frihandsfigur: Form 51">
              <a:extLst>
                <a:ext uri="{FF2B5EF4-FFF2-40B4-BE49-F238E27FC236}">
                  <a16:creationId xmlns:a16="http://schemas.microsoft.com/office/drawing/2014/main" id="{0ECD72D2-0577-4E06-A7B9-8A0D2FEE7451}"/>
                </a:ext>
              </a:extLst>
            </p:cNvPr>
            <p:cNvSpPr/>
            <p:nvPr/>
          </p:nvSpPr>
          <p:spPr>
            <a:xfrm>
              <a:off x="4510226" y="4230830"/>
              <a:ext cx="140391" cy="152132"/>
            </a:xfrm>
            <a:custGeom>
              <a:avLst/>
              <a:gdLst>
                <a:gd name="connsiteX0" fmla="*/ 140164 w 140391"/>
                <a:gd name="connsiteY0" fmla="*/ 46475 h 152132"/>
                <a:gd name="connsiteX1" fmla="*/ 129038 w 140391"/>
                <a:gd name="connsiteY1" fmla="*/ 135488 h 152132"/>
                <a:gd name="connsiteX2" fmla="*/ 111038 w 140391"/>
                <a:gd name="connsiteY2" fmla="*/ 151523 h 152132"/>
                <a:gd name="connsiteX3" fmla="*/ 96966 w 140391"/>
                <a:gd name="connsiteY3" fmla="*/ 138105 h 152132"/>
                <a:gd name="connsiteX4" fmla="*/ 96966 w 140391"/>
                <a:gd name="connsiteY4" fmla="*/ 137451 h 152132"/>
                <a:gd name="connsiteX5" fmla="*/ 96966 w 140391"/>
                <a:gd name="connsiteY5" fmla="*/ 135160 h 152132"/>
                <a:gd name="connsiteX6" fmla="*/ 45915 w 140391"/>
                <a:gd name="connsiteY6" fmla="*/ 151523 h 152132"/>
                <a:gd name="connsiteX7" fmla="*/ 1 w 140391"/>
                <a:gd name="connsiteY7" fmla="*/ 114837 h 152132"/>
                <a:gd name="connsiteX8" fmla="*/ -228 w 140391"/>
                <a:gd name="connsiteY8" fmla="*/ 111598 h 152132"/>
                <a:gd name="connsiteX9" fmla="*/ 79294 w 140391"/>
                <a:gd name="connsiteY9" fmla="*/ 52693 h 152132"/>
                <a:gd name="connsiteX10" fmla="*/ 106784 w 140391"/>
                <a:gd name="connsiteY10" fmla="*/ 54656 h 152132"/>
                <a:gd name="connsiteX11" fmla="*/ 106784 w 140391"/>
                <a:gd name="connsiteY11" fmla="*/ 47456 h 152132"/>
                <a:gd name="connsiteX12" fmla="*/ 74058 w 140391"/>
                <a:gd name="connsiteY12" fmla="*/ 26512 h 152132"/>
                <a:gd name="connsiteX13" fmla="*/ 39697 w 140391"/>
                <a:gd name="connsiteY13" fmla="*/ 35348 h 152132"/>
                <a:gd name="connsiteX14" fmla="*/ 33479 w 140391"/>
                <a:gd name="connsiteY14" fmla="*/ 37312 h 152132"/>
                <a:gd name="connsiteX15" fmla="*/ 20716 w 140391"/>
                <a:gd name="connsiteY15" fmla="*/ 24548 h 152132"/>
                <a:gd name="connsiteX16" fmla="*/ 30534 w 140391"/>
                <a:gd name="connsiteY16" fmla="*/ 9495 h 152132"/>
                <a:gd name="connsiteX17" fmla="*/ 84858 w 140391"/>
                <a:gd name="connsiteY17" fmla="*/ -322 h 152132"/>
                <a:gd name="connsiteX18" fmla="*/ 139182 w 140391"/>
                <a:gd name="connsiteY18" fmla="*/ 39275 h 152132"/>
                <a:gd name="connsiteX19" fmla="*/ 140164 w 140391"/>
                <a:gd name="connsiteY19" fmla="*/ 46475 h 152132"/>
                <a:gd name="connsiteX20" fmla="*/ 81913 w 140391"/>
                <a:gd name="connsiteY20" fmla="*/ 75600 h 152132"/>
                <a:gd name="connsiteX21" fmla="*/ 33152 w 140391"/>
                <a:gd name="connsiteY21" fmla="*/ 104072 h 152132"/>
                <a:gd name="connsiteX22" fmla="*/ 57369 w 140391"/>
                <a:gd name="connsiteY22" fmla="*/ 123379 h 152132"/>
                <a:gd name="connsiteX23" fmla="*/ 100239 w 140391"/>
                <a:gd name="connsiteY23" fmla="*/ 110944 h 152132"/>
                <a:gd name="connsiteX24" fmla="*/ 103838 w 140391"/>
                <a:gd name="connsiteY24" fmla="*/ 78218 h 152132"/>
                <a:gd name="connsiteX25" fmla="*/ 81913 w 140391"/>
                <a:gd name="connsiteY25" fmla="*/ 75600 h 15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391" h="152132">
                  <a:moveTo>
                    <a:pt x="140164" y="46475"/>
                  </a:moveTo>
                  <a:lnTo>
                    <a:pt x="129038" y="135488"/>
                  </a:lnTo>
                  <a:cubicBezTo>
                    <a:pt x="127892" y="144585"/>
                    <a:pt x="120201" y="151425"/>
                    <a:pt x="111038" y="151523"/>
                  </a:cubicBezTo>
                  <a:cubicBezTo>
                    <a:pt x="103446" y="151719"/>
                    <a:pt x="97162" y="145697"/>
                    <a:pt x="96966" y="138105"/>
                  </a:cubicBezTo>
                  <a:cubicBezTo>
                    <a:pt x="96966" y="137876"/>
                    <a:pt x="96966" y="137680"/>
                    <a:pt x="96966" y="137451"/>
                  </a:cubicBezTo>
                  <a:lnTo>
                    <a:pt x="96966" y="135160"/>
                  </a:lnTo>
                  <a:cubicBezTo>
                    <a:pt x="81650" y="144945"/>
                    <a:pt x="64077" y="150607"/>
                    <a:pt x="45915" y="151523"/>
                  </a:cubicBezTo>
                  <a:cubicBezTo>
                    <a:pt x="23106" y="154075"/>
                    <a:pt x="2553" y="137648"/>
                    <a:pt x="1" y="114837"/>
                  </a:cubicBezTo>
                  <a:cubicBezTo>
                    <a:pt x="-130" y="113758"/>
                    <a:pt x="-195" y="112678"/>
                    <a:pt x="-228" y="111598"/>
                  </a:cubicBezTo>
                  <a:cubicBezTo>
                    <a:pt x="-228" y="71019"/>
                    <a:pt x="44606" y="52693"/>
                    <a:pt x="79294" y="52693"/>
                  </a:cubicBezTo>
                  <a:cubicBezTo>
                    <a:pt x="88490" y="52693"/>
                    <a:pt x="97686" y="53347"/>
                    <a:pt x="106784" y="54656"/>
                  </a:cubicBezTo>
                  <a:cubicBezTo>
                    <a:pt x="106947" y="52267"/>
                    <a:pt x="106947" y="49845"/>
                    <a:pt x="106784" y="47456"/>
                  </a:cubicBezTo>
                  <a:cubicBezTo>
                    <a:pt x="106784" y="28803"/>
                    <a:pt x="89767" y="26512"/>
                    <a:pt x="74058" y="26512"/>
                  </a:cubicBezTo>
                  <a:cubicBezTo>
                    <a:pt x="62048" y="26611"/>
                    <a:pt x="50267" y="29654"/>
                    <a:pt x="39697" y="35348"/>
                  </a:cubicBezTo>
                  <a:cubicBezTo>
                    <a:pt x="37767" y="36395"/>
                    <a:pt x="35671" y="37050"/>
                    <a:pt x="33479" y="37312"/>
                  </a:cubicBezTo>
                  <a:cubicBezTo>
                    <a:pt x="26443" y="37312"/>
                    <a:pt x="20716" y="31584"/>
                    <a:pt x="20716" y="24548"/>
                  </a:cubicBezTo>
                  <a:cubicBezTo>
                    <a:pt x="20782" y="18037"/>
                    <a:pt x="24611" y="12178"/>
                    <a:pt x="30534" y="9495"/>
                  </a:cubicBezTo>
                  <a:cubicBezTo>
                    <a:pt x="47812" y="2656"/>
                    <a:pt x="66269" y="-683"/>
                    <a:pt x="84858" y="-322"/>
                  </a:cubicBezTo>
                  <a:cubicBezTo>
                    <a:pt x="111366" y="-322"/>
                    <a:pt x="139182" y="7531"/>
                    <a:pt x="139182" y="39275"/>
                  </a:cubicBezTo>
                  <a:cubicBezTo>
                    <a:pt x="139673" y="41664"/>
                    <a:pt x="140000" y="44053"/>
                    <a:pt x="140164" y="46475"/>
                  </a:cubicBezTo>
                  <a:close/>
                  <a:moveTo>
                    <a:pt x="81913" y="75600"/>
                  </a:moveTo>
                  <a:cubicBezTo>
                    <a:pt x="64895" y="75600"/>
                    <a:pt x="33152" y="81491"/>
                    <a:pt x="33152" y="104072"/>
                  </a:cubicBezTo>
                  <a:cubicBezTo>
                    <a:pt x="33152" y="117816"/>
                    <a:pt x="45260" y="123379"/>
                    <a:pt x="57369" y="123379"/>
                  </a:cubicBezTo>
                  <a:cubicBezTo>
                    <a:pt x="72520" y="123118"/>
                    <a:pt x="87312" y="118830"/>
                    <a:pt x="100239" y="110944"/>
                  </a:cubicBezTo>
                  <a:lnTo>
                    <a:pt x="103838" y="78218"/>
                  </a:lnTo>
                  <a:cubicBezTo>
                    <a:pt x="96672" y="76353"/>
                    <a:pt x="89308" y="75469"/>
                    <a:pt x="81913" y="7560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3" name="Frihandsfigur: Form 52">
              <a:extLst>
                <a:ext uri="{FF2B5EF4-FFF2-40B4-BE49-F238E27FC236}">
                  <a16:creationId xmlns:a16="http://schemas.microsoft.com/office/drawing/2014/main" id="{C21A721A-13B5-4E01-B310-59C0BDFEDD81}"/>
                </a:ext>
              </a:extLst>
            </p:cNvPr>
            <p:cNvSpPr/>
            <p:nvPr/>
          </p:nvSpPr>
          <p:spPr>
            <a:xfrm>
              <a:off x="2907924" y="4476861"/>
              <a:ext cx="252473" cy="252831"/>
            </a:xfrm>
            <a:custGeom>
              <a:avLst/>
              <a:gdLst>
                <a:gd name="connsiteX0" fmla="*/ 110453 w 252473"/>
                <a:gd name="connsiteY0" fmla="*/ 252380 h 252831"/>
                <a:gd name="connsiteX1" fmla="*/ -125 w 252473"/>
                <a:gd name="connsiteY1" fmla="*/ 151096 h 252831"/>
                <a:gd name="connsiteX2" fmla="*/ -157 w 252473"/>
                <a:gd name="connsiteY2" fmla="*/ 142750 h 252831"/>
                <a:gd name="connsiteX3" fmla="*/ 141543 w 252473"/>
                <a:gd name="connsiteY3" fmla="*/ -259 h 252831"/>
                <a:gd name="connsiteX4" fmla="*/ 252122 w 252473"/>
                <a:gd name="connsiteY4" fmla="*/ 101713 h 252831"/>
                <a:gd name="connsiteX5" fmla="*/ 252155 w 252473"/>
                <a:gd name="connsiteY5" fmla="*/ 109371 h 252831"/>
                <a:gd name="connsiteX6" fmla="*/ 119093 w 252473"/>
                <a:gd name="connsiteY6" fmla="*/ 252348 h 252831"/>
                <a:gd name="connsiteX7" fmla="*/ 110453 w 252473"/>
                <a:gd name="connsiteY7" fmla="*/ 252380 h 252831"/>
                <a:gd name="connsiteX8" fmla="*/ 137288 w 252473"/>
                <a:gd name="connsiteY8" fmla="*/ 30830 h 252831"/>
                <a:gd name="connsiteX9" fmla="*/ 35840 w 252473"/>
                <a:gd name="connsiteY9" fmla="*/ 137842 h 252831"/>
                <a:gd name="connsiteX10" fmla="*/ 112680 w 252473"/>
                <a:gd name="connsiteY10" fmla="*/ 221226 h 252831"/>
                <a:gd name="connsiteX11" fmla="*/ 114708 w 252473"/>
                <a:gd name="connsiteY11" fmla="*/ 221291 h 252831"/>
                <a:gd name="connsiteX12" fmla="*/ 215829 w 252473"/>
                <a:gd name="connsiteY12" fmla="*/ 112644 h 252831"/>
                <a:gd name="connsiteX13" fmla="*/ 143703 w 252473"/>
                <a:gd name="connsiteY13" fmla="*/ 30011 h 252831"/>
                <a:gd name="connsiteX14" fmla="*/ 137288 w 252473"/>
                <a:gd name="connsiteY14" fmla="*/ 29849 h 252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73" h="252831">
                  <a:moveTo>
                    <a:pt x="110453" y="252380"/>
                  </a:moveTo>
                  <a:cubicBezTo>
                    <a:pt x="51941" y="254933"/>
                    <a:pt x="2460" y="209608"/>
                    <a:pt x="-125" y="151096"/>
                  </a:cubicBezTo>
                  <a:cubicBezTo>
                    <a:pt x="-256" y="148314"/>
                    <a:pt x="-256" y="145532"/>
                    <a:pt x="-157" y="142750"/>
                  </a:cubicBezTo>
                  <a:cubicBezTo>
                    <a:pt x="366" y="64504"/>
                    <a:pt x="63297" y="984"/>
                    <a:pt x="141543" y="-259"/>
                  </a:cubicBezTo>
                  <a:cubicBezTo>
                    <a:pt x="200219" y="-2648"/>
                    <a:pt x="249733" y="43003"/>
                    <a:pt x="252122" y="101713"/>
                  </a:cubicBezTo>
                  <a:cubicBezTo>
                    <a:pt x="252220" y="104266"/>
                    <a:pt x="252220" y="106818"/>
                    <a:pt x="252155" y="109371"/>
                  </a:cubicBezTo>
                  <a:cubicBezTo>
                    <a:pt x="254903" y="185589"/>
                    <a:pt x="195311" y="249599"/>
                    <a:pt x="119093" y="252348"/>
                  </a:cubicBezTo>
                  <a:cubicBezTo>
                    <a:pt x="116214" y="252446"/>
                    <a:pt x="113334" y="252446"/>
                    <a:pt x="110453" y="252380"/>
                  </a:cubicBezTo>
                  <a:close/>
                  <a:moveTo>
                    <a:pt x="137288" y="30830"/>
                  </a:moveTo>
                  <a:cubicBezTo>
                    <a:pt x="80150" y="33284"/>
                    <a:pt x="35252" y="80638"/>
                    <a:pt x="35840" y="137842"/>
                  </a:cubicBezTo>
                  <a:cubicBezTo>
                    <a:pt x="34040" y="182086"/>
                    <a:pt x="68434" y="219426"/>
                    <a:pt x="112680" y="221226"/>
                  </a:cubicBezTo>
                  <a:cubicBezTo>
                    <a:pt x="113334" y="221259"/>
                    <a:pt x="114021" y="221291"/>
                    <a:pt x="114708" y="221291"/>
                  </a:cubicBezTo>
                  <a:cubicBezTo>
                    <a:pt x="171388" y="216579"/>
                    <a:pt x="215175" y="169520"/>
                    <a:pt x="215829" y="112644"/>
                  </a:cubicBezTo>
                  <a:cubicBezTo>
                    <a:pt x="218709" y="69904"/>
                    <a:pt x="186442" y="32925"/>
                    <a:pt x="143703" y="30011"/>
                  </a:cubicBezTo>
                  <a:cubicBezTo>
                    <a:pt x="141576" y="29881"/>
                    <a:pt x="139416" y="29816"/>
                    <a:pt x="137288" y="2984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4" name="Frihandsfigur: Form 53">
              <a:extLst>
                <a:ext uri="{FF2B5EF4-FFF2-40B4-BE49-F238E27FC236}">
                  <a16:creationId xmlns:a16="http://schemas.microsoft.com/office/drawing/2014/main" id="{7DEA094F-AA89-4059-BE00-5F136EC1AA5C}"/>
                </a:ext>
              </a:extLst>
            </p:cNvPr>
            <p:cNvSpPr/>
            <p:nvPr/>
          </p:nvSpPr>
          <p:spPr>
            <a:xfrm>
              <a:off x="3177978" y="4574948"/>
              <a:ext cx="234329" cy="152356"/>
            </a:xfrm>
            <a:custGeom>
              <a:avLst/>
              <a:gdLst>
                <a:gd name="connsiteX0" fmla="*/ 233758 w 234329"/>
                <a:gd name="connsiteY0" fmla="*/ 51209 h 152356"/>
                <a:gd name="connsiteX1" fmla="*/ 223286 w 234329"/>
                <a:gd name="connsiteY1" fmla="*/ 136295 h 152356"/>
                <a:gd name="connsiteX2" fmla="*/ 205287 w 234329"/>
                <a:gd name="connsiteY2" fmla="*/ 152002 h 152356"/>
                <a:gd name="connsiteX3" fmla="*/ 191215 w 234329"/>
                <a:gd name="connsiteY3" fmla="*/ 138585 h 152356"/>
                <a:gd name="connsiteX4" fmla="*/ 191215 w 234329"/>
                <a:gd name="connsiteY4" fmla="*/ 138258 h 152356"/>
                <a:gd name="connsiteX5" fmla="*/ 191215 w 234329"/>
                <a:gd name="connsiteY5" fmla="*/ 136295 h 152356"/>
                <a:gd name="connsiteX6" fmla="*/ 200705 w 234329"/>
                <a:gd name="connsiteY6" fmla="*/ 57753 h 152356"/>
                <a:gd name="connsiteX7" fmla="*/ 200705 w 234329"/>
                <a:gd name="connsiteY7" fmla="*/ 53172 h 152356"/>
                <a:gd name="connsiteX8" fmla="*/ 172888 w 234329"/>
                <a:gd name="connsiteY8" fmla="*/ 29282 h 152356"/>
                <a:gd name="connsiteX9" fmla="*/ 135254 w 234329"/>
                <a:gd name="connsiteY9" fmla="*/ 63645 h 152356"/>
                <a:gd name="connsiteX10" fmla="*/ 126091 w 234329"/>
                <a:gd name="connsiteY10" fmla="*/ 136949 h 152356"/>
                <a:gd name="connsiteX11" fmla="*/ 109401 w 234329"/>
                <a:gd name="connsiteY11" fmla="*/ 152002 h 152356"/>
                <a:gd name="connsiteX12" fmla="*/ 95985 w 234329"/>
                <a:gd name="connsiteY12" fmla="*/ 139240 h 152356"/>
                <a:gd name="connsiteX13" fmla="*/ 95985 w 234329"/>
                <a:gd name="connsiteY13" fmla="*/ 139240 h 152356"/>
                <a:gd name="connsiteX14" fmla="*/ 95985 w 234329"/>
                <a:gd name="connsiteY14" fmla="*/ 137277 h 152356"/>
                <a:gd name="connsiteX15" fmla="*/ 105802 w 234329"/>
                <a:gd name="connsiteY15" fmla="*/ 60372 h 152356"/>
                <a:gd name="connsiteX16" fmla="*/ 105802 w 234329"/>
                <a:gd name="connsiteY16" fmla="*/ 53500 h 152356"/>
                <a:gd name="connsiteX17" fmla="*/ 86494 w 234329"/>
                <a:gd name="connsiteY17" fmla="*/ 29249 h 152356"/>
                <a:gd name="connsiteX18" fmla="*/ 81258 w 234329"/>
                <a:gd name="connsiteY18" fmla="*/ 29282 h 152356"/>
                <a:gd name="connsiteX19" fmla="*/ 40842 w 234329"/>
                <a:gd name="connsiteY19" fmla="*/ 62499 h 152356"/>
                <a:gd name="connsiteX20" fmla="*/ 40679 w 234329"/>
                <a:gd name="connsiteY20" fmla="*/ 65608 h 152356"/>
                <a:gd name="connsiteX21" fmla="*/ 32170 w 234329"/>
                <a:gd name="connsiteY21" fmla="*/ 136295 h 152356"/>
                <a:gd name="connsiteX22" fmla="*/ 13844 w 234329"/>
                <a:gd name="connsiteY22" fmla="*/ 152002 h 152356"/>
                <a:gd name="connsiteX23" fmla="*/ -228 w 234329"/>
                <a:gd name="connsiteY23" fmla="*/ 137603 h 152356"/>
                <a:gd name="connsiteX24" fmla="*/ -228 w 234329"/>
                <a:gd name="connsiteY24" fmla="*/ 135967 h 152356"/>
                <a:gd name="connsiteX25" fmla="*/ 14498 w 234329"/>
                <a:gd name="connsiteY25" fmla="*/ 15865 h 152356"/>
                <a:gd name="connsiteX26" fmla="*/ 32497 w 234329"/>
                <a:gd name="connsiteY26" fmla="*/ -170 h 152356"/>
                <a:gd name="connsiteX27" fmla="*/ 46864 w 234329"/>
                <a:gd name="connsiteY27" fmla="*/ 12920 h 152356"/>
                <a:gd name="connsiteX28" fmla="*/ 46897 w 234329"/>
                <a:gd name="connsiteY28" fmla="*/ 13575 h 152356"/>
                <a:gd name="connsiteX29" fmla="*/ 46897 w 234329"/>
                <a:gd name="connsiteY29" fmla="*/ 19138 h 152356"/>
                <a:gd name="connsiteX30" fmla="*/ 97621 w 234329"/>
                <a:gd name="connsiteY30" fmla="*/ -170 h 152356"/>
                <a:gd name="connsiteX31" fmla="*/ 135254 w 234329"/>
                <a:gd name="connsiteY31" fmla="*/ 21101 h 152356"/>
                <a:gd name="connsiteX32" fmla="*/ 187943 w 234329"/>
                <a:gd name="connsiteY32" fmla="*/ -170 h 152356"/>
                <a:gd name="connsiteX33" fmla="*/ 234086 w 234329"/>
                <a:gd name="connsiteY33" fmla="*/ 41718 h 152356"/>
                <a:gd name="connsiteX34" fmla="*/ 233758 w 234329"/>
                <a:gd name="connsiteY34" fmla="*/ 51209 h 15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34329" h="152356">
                  <a:moveTo>
                    <a:pt x="233758" y="51209"/>
                  </a:moveTo>
                  <a:lnTo>
                    <a:pt x="223286" y="136295"/>
                  </a:lnTo>
                  <a:cubicBezTo>
                    <a:pt x="221748" y="145130"/>
                    <a:pt x="214253" y="151676"/>
                    <a:pt x="205287" y="152002"/>
                  </a:cubicBezTo>
                  <a:cubicBezTo>
                    <a:pt x="197695" y="152199"/>
                    <a:pt x="191411" y="146178"/>
                    <a:pt x="191215" y="138585"/>
                  </a:cubicBezTo>
                  <a:cubicBezTo>
                    <a:pt x="191215" y="138487"/>
                    <a:pt x="191215" y="138356"/>
                    <a:pt x="191215" y="138258"/>
                  </a:cubicBezTo>
                  <a:lnTo>
                    <a:pt x="191215" y="136295"/>
                  </a:lnTo>
                  <a:lnTo>
                    <a:pt x="200705" y="57753"/>
                  </a:lnTo>
                  <a:cubicBezTo>
                    <a:pt x="200869" y="56215"/>
                    <a:pt x="200869" y="54710"/>
                    <a:pt x="200705" y="53172"/>
                  </a:cubicBezTo>
                  <a:cubicBezTo>
                    <a:pt x="200705" y="36482"/>
                    <a:pt x="188269" y="29282"/>
                    <a:pt x="172888" y="29282"/>
                  </a:cubicBezTo>
                  <a:cubicBezTo>
                    <a:pt x="153122" y="28726"/>
                    <a:pt x="136498" y="43911"/>
                    <a:pt x="135254" y="63645"/>
                  </a:cubicBezTo>
                  <a:lnTo>
                    <a:pt x="126091" y="136949"/>
                  </a:lnTo>
                  <a:cubicBezTo>
                    <a:pt x="124979" y="145392"/>
                    <a:pt x="117910" y="151741"/>
                    <a:pt x="109401" y="152002"/>
                  </a:cubicBezTo>
                  <a:cubicBezTo>
                    <a:pt x="102170" y="152199"/>
                    <a:pt x="96180" y="146472"/>
                    <a:pt x="95985" y="139240"/>
                  </a:cubicBezTo>
                  <a:cubicBezTo>
                    <a:pt x="95985" y="139240"/>
                    <a:pt x="95985" y="139240"/>
                    <a:pt x="95985" y="139240"/>
                  </a:cubicBezTo>
                  <a:lnTo>
                    <a:pt x="95985" y="137277"/>
                  </a:lnTo>
                  <a:lnTo>
                    <a:pt x="105802" y="60372"/>
                  </a:lnTo>
                  <a:cubicBezTo>
                    <a:pt x="105966" y="58081"/>
                    <a:pt x="105966" y="55790"/>
                    <a:pt x="105802" y="53500"/>
                  </a:cubicBezTo>
                  <a:cubicBezTo>
                    <a:pt x="107176" y="41457"/>
                    <a:pt x="98504" y="30625"/>
                    <a:pt x="86494" y="29249"/>
                  </a:cubicBezTo>
                  <a:cubicBezTo>
                    <a:pt x="84759" y="29054"/>
                    <a:pt x="82993" y="29054"/>
                    <a:pt x="81258" y="29282"/>
                  </a:cubicBezTo>
                  <a:cubicBezTo>
                    <a:pt x="60935" y="27286"/>
                    <a:pt x="42838" y="42144"/>
                    <a:pt x="40842" y="62499"/>
                  </a:cubicBezTo>
                  <a:cubicBezTo>
                    <a:pt x="40744" y="63514"/>
                    <a:pt x="40679" y="64560"/>
                    <a:pt x="40679" y="65608"/>
                  </a:cubicBezTo>
                  <a:lnTo>
                    <a:pt x="32170" y="136295"/>
                  </a:lnTo>
                  <a:cubicBezTo>
                    <a:pt x="30501" y="145163"/>
                    <a:pt x="22876" y="151708"/>
                    <a:pt x="13844" y="152002"/>
                  </a:cubicBezTo>
                  <a:cubicBezTo>
                    <a:pt x="6022" y="151839"/>
                    <a:pt x="-228" y="145425"/>
                    <a:pt x="-228" y="137603"/>
                  </a:cubicBezTo>
                  <a:lnTo>
                    <a:pt x="-228" y="135967"/>
                  </a:lnTo>
                  <a:lnTo>
                    <a:pt x="14498" y="15865"/>
                  </a:lnTo>
                  <a:cubicBezTo>
                    <a:pt x="15643" y="6768"/>
                    <a:pt x="23334" y="-72"/>
                    <a:pt x="32497" y="-170"/>
                  </a:cubicBezTo>
                  <a:cubicBezTo>
                    <a:pt x="40090" y="-530"/>
                    <a:pt x="46503" y="5328"/>
                    <a:pt x="46864" y="12920"/>
                  </a:cubicBezTo>
                  <a:cubicBezTo>
                    <a:pt x="46897" y="13116"/>
                    <a:pt x="46897" y="13345"/>
                    <a:pt x="46897" y="13575"/>
                  </a:cubicBezTo>
                  <a:cubicBezTo>
                    <a:pt x="47059" y="15439"/>
                    <a:pt x="47059" y="17272"/>
                    <a:pt x="46897" y="19138"/>
                  </a:cubicBezTo>
                  <a:cubicBezTo>
                    <a:pt x="60707" y="6440"/>
                    <a:pt x="78869" y="-465"/>
                    <a:pt x="97621" y="-170"/>
                  </a:cubicBezTo>
                  <a:cubicBezTo>
                    <a:pt x="113394" y="-1708"/>
                    <a:pt x="128447" y="6801"/>
                    <a:pt x="135254" y="21101"/>
                  </a:cubicBezTo>
                  <a:cubicBezTo>
                    <a:pt x="149163" y="7095"/>
                    <a:pt x="168210" y="-596"/>
                    <a:pt x="187943" y="-170"/>
                  </a:cubicBezTo>
                  <a:cubicBezTo>
                    <a:pt x="215759" y="-170"/>
                    <a:pt x="234086" y="12920"/>
                    <a:pt x="234086" y="41718"/>
                  </a:cubicBezTo>
                  <a:cubicBezTo>
                    <a:pt x="234151" y="44893"/>
                    <a:pt x="234020" y="48067"/>
                    <a:pt x="233758" y="5120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5" name="Frihandsfigur: Form 54">
              <a:extLst>
                <a:ext uri="{FF2B5EF4-FFF2-40B4-BE49-F238E27FC236}">
                  <a16:creationId xmlns:a16="http://schemas.microsoft.com/office/drawing/2014/main" id="{7D1172D2-DB50-46F2-9972-ECD60E73141E}"/>
                </a:ext>
              </a:extLst>
            </p:cNvPr>
            <p:cNvSpPr/>
            <p:nvPr/>
          </p:nvSpPr>
          <p:spPr>
            <a:xfrm>
              <a:off x="3428654" y="4517525"/>
              <a:ext cx="101775" cy="207649"/>
            </a:xfrm>
            <a:custGeom>
              <a:avLst/>
              <a:gdLst>
                <a:gd name="connsiteX0" fmla="*/ 101547 w 101775"/>
                <a:gd name="connsiteY0" fmla="*/ 77870 h 207649"/>
                <a:gd name="connsiteX1" fmla="*/ 85512 w 101775"/>
                <a:gd name="connsiteY1" fmla="*/ 91942 h 207649"/>
                <a:gd name="connsiteX2" fmla="*/ 61950 w 101775"/>
                <a:gd name="connsiteY2" fmla="*/ 91942 h 207649"/>
                <a:gd name="connsiteX3" fmla="*/ 55405 w 101775"/>
                <a:gd name="connsiteY3" fmla="*/ 146920 h 207649"/>
                <a:gd name="connsiteX4" fmla="*/ 55405 w 101775"/>
                <a:gd name="connsiteY4" fmla="*/ 155101 h 207649"/>
                <a:gd name="connsiteX5" fmla="*/ 73731 w 101775"/>
                <a:gd name="connsiteY5" fmla="*/ 178337 h 207649"/>
                <a:gd name="connsiteX6" fmla="*/ 79294 w 101775"/>
                <a:gd name="connsiteY6" fmla="*/ 178337 h 207649"/>
                <a:gd name="connsiteX7" fmla="*/ 92057 w 101775"/>
                <a:gd name="connsiteY7" fmla="*/ 189758 h 207649"/>
                <a:gd name="connsiteX8" fmla="*/ 92057 w 101775"/>
                <a:gd name="connsiteY8" fmla="*/ 190772 h 207649"/>
                <a:gd name="connsiteX9" fmla="*/ 65223 w 101775"/>
                <a:gd name="connsiteY9" fmla="*/ 207134 h 207649"/>
                <a:gd name="connsiteX10" fmla="*/ 21828 w 101775"/>
                <a:gd name="connsiteY10" fmla="*/ 171006 h 207649"/>
                <a:gd name="connsiteX11" fmla="*/ 21698 w 101775"/>
                <a:gd name="connsiteY11" fmla="*/ 165574 h 207649"/>
                <a:gd name="connsiteX12" fmla="*/ 21698 w 101775"/>
                <a:gd name="connsiteY12" fmla="*/ 152484 h 207649"/>
                <a:gd name="connsiteX13" fmla="*/ 29225 w 101775"/>
                <a:gd name="connsiteY13" fmla="*/ 91942 h 207649"/>
                <a:gd name="connsiteX14" fmla="*/ 11880 w 101775"/>
                <a:gd name="connsiteY14" fmla="*/ 91942 h 207649"/>
                <a:gd name="connsiteX15" fmla="*/ -228 w 101775"/>
                <a:gd name="connsiteY15" fmla="*/ 79833 h 207649"/>
                <a:gd name="connsiteX16" fmla="*/ -228 w 101775"/>
                <a:gd name="connsiteY16" fmla="*/ 79506 h 207649"/>
                <a:gd name="connsiteX17" fmla="*/ -228 w 101775"/>
                <a:gd name="connsiteY17" fmla="*/ 79506 h 207649"/>
                <a:gd name="connsiteX18" fmla="*/ 32497 w 101775"/>
                <a:gd name="connsiteY18" fmla="*/ 65762 h 207649"/>
                <a:gd name="connsiteX19" fmla="*/ 38388 w 101775"/>
                <a:gd name="connsiteY19" fmla="*/ 15692 h 207649"/>
                <a:gd name="connsiteX20" fmla="*/ 57041 w 101775"/>
                <a:gd name="connsiteY20" fmla="*/ -344 h 207649"/>
                <a:gd name="connsiteX21" fmla="*/ 71113 w 101775"/>
                <a:gd name="connsiteY21" fmla="*/ 13073 h 207649"/>
                <a:gd name="connsiteX22" fmla="*/ 71113 w 101775"/>
                <a:gd name="connsiteY22" fmla="*/ 13401 h 207649"/>
                <a:gd name="connsiteX23" fmla="*/ 71113 w 101775"/>
                <a:gd name="connsiteY23" fmla="*/ 15692 h 207649"/>
                <a:gd name="connsiteX24" fmla="*/ 64895 w 101775"/>
                <a:gd name="connsiteY24" fmla="*/ 65762 h 207649"/>
                <a:gd name="connsiteX25" fmla="*/ 88784 w 101775"/>
                <a:gd name="connsiteY25" fmla="*/ 65762 h 207649"/>
                <a:gd name="connsiteX26" fmla="*/ 101547 w 101775"/>
                <a:gd name="connsiteY26" fmla="*/ 78197 h 207649"/>
                <a:gd name="connsiteX27" fmla="*/ 101547 w 101775"/>
                <a:gd name="connsiteY27" fmla="*/ 77870 h 207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775" h="207649">
                  <a:moveTo>
                    <a:pt x="101547" y="77870"/>
                  </a:moveTo>
                  <a:cubicBezTo>
                    <a:pt x="100304" y="85823"/>
                    <a:pt x="93563" y="91713"/>
                    <a:pt x="85512" y="91942"/>
                  </a:cubicBezTo>
                  <a:lnTo>
                    <a:pt x="61950" y="91942"/>
                  </a:lnTo>
                  <a:lnTo>
                    <a:pt x="55405" y="146920"/>
                  </a:lnTo>
                  <a:cubicBezTo>
                    <a:pt x="55241" y="149636"/>
                    <a:pt x="55241" y="152386"/>
                    <a:pt x="55405" y="155101"/>
                  </a:cubicBezTo>
                  <a:cubicBezTo>
                    <a:pt x="55405" y="167865"/>
                    <a:pt x="59659" y="178337"/>
                    <a:pt x="73731" y="178337"/>
                  </a:cubicBezTo>
                  <a:lnTo>
                    <a:pt x="79294" y="178337"/>
                  </a:lnTo>
                  <a:cubicBezTo>
                    <a:pt x="85970" y="177976"/>
                    <a:pt x="91664" y="183082"/>
                    <a:pt x="92057" y="189758"/>
                  </a:cubicBezTo>
                  <a:cubicBezTo>
                    <a:pt x="92057" y="190118"/>
                    <a:pt x="92057" y="190445"/>
                    <a:pt x="92057" y="190772"/>
                  </a:cubicBezTo>
                  <a:cubicBezTo>
                    <a:pt x="92057" y="204517"/>
                    <a:pt x="76349" y="207134"/>
                    <a:pt x="65223" y="207134"/>
                  </a:cubicBezTo>
                  <a:cubicBezTo>
                    <a:pt x="43263" y="209131"/>
                    <a:pt x="23825" y="192965"/>
                    <a:pt x="21828" y="171006"/>
                  </a:cubicBezTo>
                  <a:cubicBezTo>
                    <a:pt x="21665" y="169206"/>
                    <a:pt x="21600" y="167373"/>
                    <a:pt x="21698" y="165574"/>
                  </a:cubicBezTo>
                  <a:cubicBezTo>
                    <a:pt x="21370" y="161221"/>
                    <a:pt x="21370" y="156836"/>
                    <a:pt x="21698" y="152484"/>
                  </a:cubicBezTo>
                  <a:lnTo>
                    <a:pt x="29225" y="91942"/>
                  </a:lnTo>
                  <a:lnTo>
                    <a:pt x="11880" y="91942"/>
                  </a:lnTo>
                  <a:cubicBezTo>
                    <a:pt x="5204" y="91942"/>
                    <a:pt x="-228" y="86510"/>
                    <a:pt x="-228" y="79833"/>
                  </a:cubicBezTo>
                  <a:cubicBezTo>
                    <a:pt x="-228" y="79735"/>
                    <a:pt x="-228" y="79605"/>
                    <a:pt x="-228" y="79506"/>
                  </a:cubicBezTo>
                  <a:lnTo>
                    <a:pt x="-228" y="79506"/>
                  </a:lnTo>
                  <a:cubicBezTo>
                    <a:pt x="2390" y="62489"/>
                    <a:pt x="20388" y="65762"/>
                    <a:pt x="32497" y="65762"/>
                  </a:cubicBezTo>
                  <a:lnTo>
                    <a:pt x="38388" y="15692"/>
                  </a:lnTo>
                  <a:cubicBezTo>
                    <a:pt x="39959" y="6561"/>
                    <a:pt x="47780" y="-147"/>
                    <a:pt x="57041" y="-344"/>
                  </a:cubicBezTo>
                  <a:cubicBezTo>
                    <a:pt x="64634" y="-540"/>
                    <a:pt x="70916" y="5481"/>
                    <a:pt x="71113" y="13073"/>
                  </a:cubicBezTo>
                  <a:cubicBezTo>
                    <a:pt x="71113" y="13172"/>
                    <a:pt x="71113" y="13303"/>
                    <a:pt x="71113" y="13401"/>
                  </a:cubicBezTo>
                  <a:cubicBezTo>
                    <a:pt x="71113" y="13401"/>
                    <a:pt x="71113" y="15037"/>
                    <a:pt x="71113" y="15692"/>
                  </a:cubicBezTo>
                  <a:lnTo>
                    <a:pt x="64895" y="65762"/>
                  </a:lnTo>
                  <a:lnTo>
                    <a:pt x="88784" y="65762"/>
                  </a:lnTo>
                  <a:cubicBezTo>
                    <a:pt x="95722" y="65762"/>
                    <a:pt x="101384" y="71293"/>
                    <a:pt x="101547" y="78197"/>
                  </a:cubicBezTo>
                  <a:cubicBezTo>
                    <a:pt x="101547" y="78197"/>
                    <a:pt x="101547" y="77216"/>
                    <a:pt x="101547" y="7787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6" name="Frihandsfigur: Form 55">
              <a:extLst>
                <a:ext uri="{FF2B5EF4-FFF2-40B4-BE49-F238E27FC236}">
                  <a16:creationId xmlns:a16="http://schemas.microsoft.com/office/drawing/2014/main" id="{009F73FB-CC51-45CD-B943-F9925C1F1C6B}"/>
                </a:ext>
              </a:extLst>
            </p:cNvPr>
            <p:cNvSpPr/>
            <p:nvPr/>
          </p:nvSpPr>
          <p:spPr>
            <a:xfrm>
              <a:off x="3537629" y="4506403"/>
              <a:ext cx="140718" cy="221194"/>
            </a:xfrm>
            <a:custGeom>
              <a:avLst/>
              <a:gdLst>
                <a:gd name="connsiteX0" fmla="*/ 139837 w 140718"/>
                <a:gd name="connsiteY0" fmla="*/ 115499 h 221194"/>
                <a:gd name="connsiteX1" fmla="*/ 129038 w 140718"/>
                <a:gd name="connsiteY1" fmla="*/ 204512 h 221194"/>
                <a:gd name="connsiteX2" fmla="*/ 111038 w 140718"/>
                <a:gd name="connsiteY2" fmla="*/ 220547 h 221194"/>
                <a:gd name="connsiteX3" fmla="*/ 96966 w 140718"/>
                <a:gd name="connsiteY3" fmla="*/ 207130 h 221194"/>
                <a:gd name="connsiteX4" fmla="*/ 96966 w 140718"/>
                <a:gd name="connsiteY4" fmla="*/ 206476 h 221194"/>
                <a:gd name="connsiteX5" fmla="*/ 96966 w 140718"/>
                <a:gd name="connsiteY5" fmla="*/ 204185 h 221194"/>
                <a:gd name="connsiteX6" fmla="*/ 45915 w 140718"/>
                <a:gd name="connsiteY6" fmla="*/ 220547 h 221194"/>
                <a:gd name="connsiteX7" fmla="*/ 67 w 140718"/>
                <a:gd name="connsiteY7" fmla="*/ 184517 h 221194"/>
                <a:gd name="connsiteX8" fmla="*/ -228 w 140718"/>
                <a:gd name="connsiteY8" fmla="*/ 180622 h 221194"/>
                <a:gd name="connsiteX9" fmla="*/ 78968 w 140718"/>
                <a:gd name="connsiteY9" fmla="*/ 121717 h 221194"/>
                <a:gd name="connsiteX10" fmla="*/ 106457 w 140718"/>
                <a:gd name="connsiteY10" fmla="*/ 123681 h 221194"/>
                <a:gd name="connsiteX11" fmla="*/ 106457 w 140718"/>
                <a:gd name="connsiteY11" fmla="*/ 116481 h 221194"/>
                <a:gd name="connsiteX12" fmla="*/ 73732 w 140718"/>
                <a:gd name="connsiteY12" fmla="*/ 95536 h 221194"/>
                <a:gd name="connsiteX13" fmla="*/ 41006 w 140718"/>
                <a:gd name="connsiteY13" fmla="*/ 104373 h 221194"/>
                <a:gd name="connsiteX14" fmla="*/ 34788 w 140718"/>
                <a:gd name="connsiteY14" fmla="*/ 106336 h 221194"/>
                <a:gd name="connsiteX15" fmla="*/ 22025 w 140718"/>
                <a:gd name="connsiteY15" fmla="*/ 93573 h 221194"/>
                <a:gd name="connsiteX16" fmla="*/ 32170 w 140718"/>
                <a:gd name="connsiteY16" fmla="*/ 78519 h 221194"/>
                <a:gd name="connsiteX17" fmla="*/ 86166 w 140718"/>
                <a:gd name="connsiteY17" fmla="*/ 68702 h 221194"/>
                <a:gd name="connsiteX18" fmla="*/ 140491 w 140718"/>
                <a:gd name="connsiteY18" fmla="*/ 108300 h 221194"/>
                <a:gd name="connsiteX19" fmla="*/ 139837 w 140718"/>
                <a:gd name="connsiteY19" fmla="*/ 115499 h 221194"/>
                <a:gd name="connsiteX20" fmla="*/ 81585 w 140718"/>
                <a:gd name="connsiteY20" fmla="*/ 144952 h 221194"/>
                <a:gd name="connsiteX21" fmla="*/ 33152 w 140718"/>
                <a:gd name="connsiteY21" fmla="*/ 173096 h 221194"/>
                <a:gd name="connsiteX22" fmla="*/ 57369 w 140718"/>
                <a:gd name="connsiteY22" fmla="*/ 192404 h 221194"/>
                <a:gd name="connsiteX23" fmla="*/ 99912 w 140718"/>
                <a:gd name="connsiteY23" fmla="*/ 179968 h 221194"/>
                <a:gd name="connsiteX24" fmla="*/ 103838 w 140718"/>
                <a:gd name="connsiteY24" fmla="*/ 147243 h 221194"/>
                <a:gd name="connsiteX25" fmla="*/ 81585 w 140718"/>
                <a:gd name="connsiteY25" fmla="*/ 144952 h 221194"/>
                <a:gd name="connsiteX26" fmla="*/ 57696 w 140718"/>
                <a:gd name="connsiteY26" fmla="*/ 41540 h 221194"/>
                <a:gd name="connsiteX27" fmla="*/ 36752 w 140718"/>
                <a:gd name="connsiteY27" fmla="*/ 20596 h 221194"/>
                <a:gd name="connsiteX28" fmla="*/ 57696 w 140718"/>
                <a:gd name="connsiteY28" fmla="*/ -349 h 221194"/>
                <a:gd name="connsiteX29" fmla="*/ 78640 w 140718"/>
                <a:gd name="connsiteY29" fmla="*/ 20596 h 221194"/>
                <a:gd name="connsiteX30" fmla="*/ 78640 w 140718"/>
                <a:gd name="connsiteY30" fmla="*/ 20923 h 221194"/>
                <a:gd name="connsiteX31" fmla="*/ 58023 w 140718"/>
                <a:gd name="connsiteY31" fmla="*/ 41540 h 221194"/>
                <a:gd name="connsiteX32" fmla="*/ 119547 w 140718"/>
                <a:gd name="connsiteY32" fmla="*/ 41540 h 221194"/>
                <a:gd name="connsiteX33" fmla="*/ 98602 w 140718"/>
                <a:gd name="connsiteY33" fmla="*/ 20596 h 221194"/>
                <a:gd name="connsiteX34" fmla="*/ 119547 w 140718"/>
                <a:gd name="connsiteY34" fmla="*/ -349 h 221194"/>
                <a:gd name="connsiteX35" fmla="*/ 140491 w 140718"/>
                <a:gd name="connsiteY35" fmla="*/ 20596 h 221194"/>
                <a:gd name="connsiteX36" fmla="*/ 140491 w 140718"/>
                <a:gd name="connsiteY36" fmla="*/ 20923 h 221194"/>
                <a:gd name="connsiteX37" fmla="*/ 119875 w 140718"/>
                <a:gd name="connsiteY37" fmla="*/ 41540 h 221194"/>
                <a:gd name="connsiteX38" fmla="*/ 119547 w 140718"/>
                <a:gd name="connsiteY38" fmla="*/ 41540 h 22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0718" h="221194">
                  <a:moveTo>
                    <a:pt x="139837" y="115499"/>
                  </a:moveTo>
                  <a:lnTo>
                    <a:pt x="129038" y="204512"/>
                  </a:lnTo>
                  <a:cubicBezTo>
                    <a:pt x="127630" y="213478"/>
                    <a:pt x="120103" y="220188"/>
                    <a:pt x="111038" y="220547"/>
                  </a:cubicBezTo>
                  <a:cubicBezTo>
                    <a:pt x="103446" y="220744"/>
                    <a:pt x="97163" y="214723"/>
                    <a:pt x="96966" y="207130"/>
                  </a:cubicBezTo>
                  <a:cubicBezTo>
                    <a:pt x="96966" y="206901"/>
                    <a:pt x="96966" y="206704"/>
                    <a:pt x="96966" y="206476"/>
                  </a:cubicBezTo>
                  <a:lnTo>
                    <a:pt x="96966" y="204185"/>
                  </a:lnTo>
                  <a:cubicBezTo>
                    <a:pt x="81650" y="213937"/>
                    <a:pt x="64044" y="219566"/>
                    <a:pt x="45915" y="220547"/>
                  </a:cubicBezTo>
                  <a:cubicBezTo>
                    <a:pt x="23301" y="223264"/>
                    <a:pt x="2783" y="207130"/>
                    <a:pt x="67" y="184517"/>
                  </a:cubicBezTo>
                  <a:cubicBezTo>
                    <a:pt x="-97" y="183241"/>
                    <a:pt x="-195" y="181932"/>
                    <a:pt x="-228" y="180622"/>
                  </a:cubicBezTo>
                  <a:cubicBezTo>
                    <a:pt x="-228" y="140043"/>
                    <a:pt x="44606" y="121717"/>
                    <a:pt x="78968" y="121717"/>
                  </a:cubicBezTo>
                  <a:cubicBezTo>
                    <a:pt x="88163" y="121717"/>
                    <a:pt x="97359" y="122371"/>
                    <a:pt x="106457" y="123681"/>
                  </a:cubicBezTo>
                  <a:cubicBezTo>
                    <a:pt x="106620" y="121292"/>
                    <a:pt x="106620" y="118870"/>
                    <a:pt x="106457" y="116481"/>
                  </a:cubicBezTo>
                  <a:cubicBezTo>
                    <a:pt x="106457" y="97827"/>
                    <a:pt x="89767" y="95536"/>
                    <a:pt x="73732" y="95536"/>
                  </a:cubicBezTo>
                  <a:cubicBezTo>
                    <a:pt x="62278" y="95897"/>
                    <a:pt x="51085" y="98908"/>
                    <a:pt x="41006" y="104373"/>
                  </a:cubicBezTo>
                  <a:cubicBezTo>
                    <a:pt x="39174" y="105616"/>
                    <a:pt x="37014" y="106303"/>
                    <a:pt x="34788" y="106336"/>
                  </a:cubicBezTo>
                  <a:cubicBezTo>
                    <a:pt x="27753" y="106336"/>
                    <a:pt x="22025" y="100610"/>
                    <a:pt x="22025" y="93573"/>
                  </a:cubicBezTo>
                  <a:cubicBezTo>
                    <a:pt x="22156" y="86995"/>
                    <a:pt x="26116" y="81105"/>
                    <a:pt x="32170" y="78519"/>
                  </a:cubicBezTo>
                  <a:cubicBezTo>
                    <a:pt x="49319" y="71647"/>
                    <a:pt x="67678" y="68310"/>
                    <a:pt x="86166" y="68702"/>
                  </a:cubicBezTo>
                  <a:cubicBezTo>
                    <a:pt x="112675" y="68702"/>
                    <a:pt x="140491" y="76556"/>
                    <a:pt x="140491" y="108300"/>
                  </a:cubicBezTo>
                  <a:cubicBezTo>
                    <a:pt x="140426" y="110721"/>
                    <a:pt x="140229" y="113110"/>
                    <a:pt x="139837" y="115499"/>
                  </a:cubicBezTo>
                  <a:close/>
                  <a:moveTo>
                    <a:pt x="81585" y="144952"/>
                  </a:moveTo>
                  <a:cubicBezTo>
                    <a:pt x="64895" y="144952"/>
                    <a:pt x="33152" y="150516"/>
                    <a:pt x="33152" y="173096"/>
                  </a:cubicBezTo>
                  <a:cubicBezTo>
                    <a:pt x="33152" y="186840"/>
                    <a:pt x="45260" y="192404"/>
                    <a:pt x="57369" y="192404"/>
                  </a:cubicBezTo>
                  <a:cubicBezTo>
                    <a:pt x="72389" y="192109"/>
                    <a:pt x="87083" y="187822"/>
                    <a:pt x="99912" y="179968"/>
                  </a:cubicBezTo>
                  <a:lnTo>
                    <a:pt x="103838" y="147243"/>
                  </a:lnTo>
                  <a:cubicBezTo>
                    <a:pt x="96541" y="145639"/>
                    <a:pt x="89080" y="144887"/>
                    <a:pt x="81585" y="144952"/>
                  </a:cubicBezTo>
                  <a:close/>
                  <a:moveTo>
                    <a:pt x="57696" y="41540"/>
                  </a:moveTo>
                  <a:cubicBezTo>
                    <a:pt x="46144" y="41540"/>
                    <a:pt x="36752" y="32148"/>
                    <a:pt x="36752" y="20596"/>
                  </a:cubicBezTo>
                  <a:cubicBezTo>
                    <a:pt x="36752" y="9011"/>
                    <a:pt x="46144" y="-349"/>
                    <a:pt x="57696" y="-349"/>
                  </a:cubicBezTo>
                  <a:cubicBezTo>
                    <a:pt x="69280" y="-349"/>
                    <a:pt x="78640" y="9044"/>
                    <a:pt x="78640" y="20596"/>
                  </a:cubicBezTo>
                  <a:cubicBezTo>
                    <a:pt x="78640" y="20694"/>
                    <a:pt x="78640" y="20825"/>
                    <a:pt x="78640" y="20923"/>
                  </a:cubicBezTo>
                  <a:cubicBezTo>
                    <a:pt x="78477" y="32246"/>
                    <a:pt x="69346" y="41376"/>
                    <a:pt x="58023" y="41540"/>
                  </a:cubicBezTo>
                  <a:close/>
                  <a:moveTo>
                    <a:pt x="119547" y="41540"/>
                  </a:moveTo>
                  <a:cubicBezTo>
                    <a:pt x="107995" y="41540"/>
                    <a:pt x="98602" y="32148"/>
                    <a:pt x="98602" y="20596"/>
                  </a:cubicBezTo>
                  <a:cubicBezTo>
                    <a:pt x="98602" y="9011"/>
                    <a:pt x="107995" y="-349"/>
                    <a:pt x="119547" y="-349"/>
                  </a:cubicBezTo>
                  <a:cubicBezTo>
                    <a:pt x="131132" y="-349"/>
                    <a:pt x="140491" y="9044"/>
                    <a:pt x="140491" y="20596"/>
                  </a:cubicBezTo>
                  <a:cubicBezTo>
                    <a:pt x="140491" y="20694"/>
                    <a:pt x="140491" y="20825"/>
                    <a:pt x="140491" y="20923"/>
                  </a:cubicBezTo>
                  <a:cubicBezTo>
                    <a:pt x="140491" y="32312"/>
                    <a:pt x="131263" y="41540"/>
                    <a:pt x="119875" y="41540"/>
                  </a:cubicBezTo>
                  <a:cubicBezTo>
                    <a:pt x="119776" y="41540"/>
                    <a:pt x="119645" y="41540"/>
                    <a:pt x="119547" y="4154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7" name="Frihandsfigur: Form 56">
              <a:extLst>
                <a:ext uri="{FF2B5EF4-FFF2-40B4-BE49-F238E27FC236}">
                  <a16:creationId xmlns:a16="http://schemas.microsoft.com/office/drawing/2014/main" id="{43191968-5206-4E9D-B182-9B634ACEC5F4}"/>
                </a:ext>
              </a:extLst>
            </p:cNvPr>
            <p:cNvSpPr/>
            <p:nvPr/>
          </p:nvSpPr>
          <p:spPr>
            <a:xfrm>
              <a:off x="3702565" y="4575111"/>
              <a:ext cx="142027" cy="152192"/>
            </a:xfrm>
            <a:custGeom>
              <a:avLst/>
              <a:gdLst>
                <a:gd name="connsiteX0" fmla="*/ 141145 w 142027"/>
                <a:gd name="connsiteY0" fmla="*/ 51045 h 152192"/>
                <a:gd name="connsiteX1" fmla="*/ 130673 w 142027"/>
                <a:gd name="connsiteY1" fmla="*/ 135804 h 152192"/>
                <a:gd name="connsiteX2" fmla="*/ 112674 w 142027"/>
                <a:gd name="connsiteY2" fmla="*/ 151839 h 152192"/>
                <a:gd name="connsiteX3" fmla="*/ 98275 w 142027"/>
                <a:gd name="connsiteY3" fmla="*/ 138095 h 152192"/>
                <a:gd name="connsiteX4" fmla="*/ 98275 w 142027"/>
                <a:gd name="connsiteY4" fmla="*/ 137440 h 152192"/>
                <a:gd name="connsiteX5" fmla="*/ 98275 w 142027"/>
                <a:gd name="connsiteY5" fmla="*/ 135804 h 152192"/>
                <a:gd name="connsiteX6" fmla="*/ 107765 w 142027"/>
                <a:gd name="connsiteY6" fmla="*/ 60208 h 152192"/>
                <a:gd name="connsiteX7" fmla="*/ 107765 w 142027"/>
                <a:gd name="connsiteY7" fmla="*/ 53663 h 152192"/>
                <a:gd name="connsiteX8" fmla="*/ 86756 w 142027"/>
                <a:gd name="connsiteY8" fmla="*/ 28988 h 152192"/>
                <a:gd name="connsiteX9" fmla="*/ 81912 w 142027"/>
                <a:gd name="connsiteY9" fmla="*/ 29119 h 152192"/>
                <a:gd name="connsiteX10" fmla="*/ 41333 w 142027"/>
                <a:gd name="connsiteY10" fmla="*/ 63481 h 152192"/>
                <a:gd name="connsiteX11" fmla="*/ 32170 w 142027"/>
                <a:gd name="connsiteY11" fmla="*/ 136131 h 152192"/>
                <a:gd name="connsiteX12" fmla="*/ 13844 w 142027"/>
                <a:gd name="connsiteY12" fmla="*/ 151839 h 152192"/>
                <a:gd name="connsiteX13" fmla="*/ -228 w 142027"/>
                <a:gd name="connsiteY13" fmla="*/ 137767 h 152192"/>
                <a:gd name="connsiteX14" fmla="*/ -228 w 142027"/>
                <a:gd name="connsiteY14" fmla="*/ 136131 h 152192"/>
                <a:gd name="connsiteX15" fmla="*/ 14825 w 142027"/>
                <a:gd name="connsiteY15" fmla="*/ 15701 h 152192"/>
                <a:gd name="connsiteX16" fmla="*/ 32497 w 142027"/>
                <a:gd name="connsiteY16" fmla="*/ -334 h 152192"/>
                <a:gd name="connsiteX17" fmla="*/ 47551 w 142027"/>
                <a:gd name="connsiteY17" fmla="*/ 13378 h 152192"/>
                <a:gd name="connsiteX18" fmla="*/ 47551 w 142027"/>
                <a:gd name="connsiteY18" fmla="*/ 13411 h 152192"/>
                <a:gd name="connsiteX19" fmla="*/ 47551 w 142027"/>
                <a:gd name="connsiteY19" fmla="*/ 18974 h 152192"/>
                <a:gd name="connsiteX20" fmla="*/ 96311 w 142027"/>
                <a:gd name="connsiteY20" fmla="*/ -334 h 152192"/>
                <a:gd name="connsiteX21" fmla="*/ 141800 w 142027"/>
                <a:gd name="connsiteY21" fmla="*/ 41227 h 152192"/>
                <a:gd name="connsiteX22" fmla="*/ 141145 w 142027"/>
                <a:gd name="connsiteY22" fmla="*/ 51045 h 15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2027" h="152192">
                  <a:moveTo>
                    <a:pt x="141145" y="51045"/>
                  </a:moveTo>
                  <a:lnTo>
                    <a:pt x="130673" y="135804"/>
                  </a:lnTo>
                  <a:cubicBezTo>
                    <a:pt x="129397" y="144836"/>
                    <a:pt x="121772" y="151610"/>
                    <a:pt x="112674" y="151839"/>
                  </a:cubicBezTo>
                  <a:cubicBezTo>
                    <a:pt x="104918" y="152036"/>
                    <a:pt x="98471" y="145883"/>
                    <a:pt x="98275" y="138095"/>
                  </a:cubicBezTo>
                  <a:cubicBezTo>
                    <a:pt x="98275" y="137865"/>
                    <a:pt x="98275" y="137669"/>
                    <a:pt x="98275" y="137440"/>
                  </a:cubicBezTo>
                  <a:lnTo>
                    <a:pt x="98275" y="135804"/>
                  </a:lnTo>
                  <a:lnTo>
                    <a:pt x="107765" y="60208"/>
                  </a:lnTo>
                  <a:cubicBezTo>
                    <a:pt x="107929" y="58015"/>
                    <a:pt x="107929" y="55856"/>
                    <a:pt x="107765" y="53663"/>
                  </a:cubicBezTo>
                  <a:cubicBezTo>
                    <a:pt x="108780" y="41064"/>
                    <a:pt x="99387" y="30003"/>
                    <a:pt x="86756" y="28988"/>
                  </a:cubicBezTo>
                  <a:cubicBezTo>
                    <a:pt x="85152" y="28857"/>
                    <a:pt x="83516" y="28890"/>
                    <a:pt x="81912" y="29119"/>
                  </a:cubicBezTo>
                  <a:cubicBezTo>
                    <a:pt x="61230" y="27417"/>
                    <a:pt x="43068" y="42798"/>
                    <a:pt x="41333" y="63481"/>
                  </a:cubicBezTo>
                  <a:lnTo>
                    <a:pt x="32170" y="136131"/>
                  </a:lnTo>
                  <a:cubicBezTo>
                    <a:pt x="30599" y="145065"/>
                    <a:pt x="22909" y="151675"/>
                    <a:pt x="13844" y="151839"/>
                  </a:cubicBezTo>
                  <a:cubicBezTo>
                    <a:pt x="6088" y="151839"/>
                    <a:pt x="-228" y="145556"/>
                    <a:pt x="-228" y="137767"/>
                  </a:cubicBezTo>
                  <a:lnTo>
                    <a:pt x="-228" y="136131"/>
                  </a:lnTo>
                  <a:lnTo>
                    <a:pt x="14825" y="15701"/>
                  </a:lnTo>
                  <a:cubicBezTo>
                    <a:pt x="16069" y="6800"/>
                    <a:pt x="23497" y="59"/>
                    <a:pt x="32497" y="-334"/>
                  </a:cubicBezTo>
                  <a:cubicBezTo>
                    <a:pt x="40449" y="-693"/>
                    <a:pt x="47191" y="5426"/>
                    <a:pt x="47551" y="13378"/>
                  </a:cubicBezTo>
                  <a:cubicBezTo>
                    <a:pt x="47551" y="13378"/>
                    <a:pt x="47551" y="13411"/>
                    <a:pt x="47551" y="13411"/>
                  </a:cubicBezTo>
                  <a:cubicBezTo>
                    <a:pt x="47682" y="15276"/>
                    <a:pt x="47682" y="17109"/>
                    <a:pt x="47551" y="18974"/>
                  </a:cubicBezTo>
                  <a:cubicBezTo>
                    <a:pt x="60739" y="6538"/>
                    <a:pt x="78182" y="-367"/>
                    <a:pt x="96311" y="-334"/>
                  </a:cubicBezTo>
                  <a:cubicBezTo>
                    <a:pt x="123146" y="-334"/>
                    <a:pt x="141800" y="12756"/>
                    <a:pt x="141800" y="41227"/>
                  </a:cubicBezTo>
                  <a:cubicBezTo>
                    <a:pt x="141472" y="44500"/>
                    <a:pt x="141472" y="47773"/>
                    <a:pt x="141145" y="5104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8" name="Frihandsfigur: Form 57">
              <a:extLst>
                <a:ext uri="{FF2B5EF4-FFF2-40B4-BE49-F238E27FC236}">
                  <a16:creationId xmlns:a16="http://schemas.microsoft.com/office/drawing/2014/main" id="{EC8686AC-71D0-4942-9FBC-AE7BE8A5A7F1}"/>
                </a:ext>
              </a:extLst>
            </p:cNvPr>
            <p:cNvSpPr/>
            <p:nvPr/>
          </p:nvSpPr>
          <p:spPr>
            <a:xfrm>
              <a:off x="3869137" y="4477278"/>
              <a:ext cx="128937" cy="250056"/>
            </a:xfrm>
            <a:custGeom>
              <a:avLst/>
              <a:gdLst>
                <a:gd name="connsiteX0" fmla="*/ 123474 w 128937"/>
                <a:gd name="connsiteY0" fmla="*/ 123680 h 250056"/>
                <a:gd name="connsiteX1" fmla="*/ 75040 w 128937"/>
                <a:gd name="connsiteY1" fmla="*/ 164586 h 250056"/>
                <a:gd name="connsiteX2" fmla="*/ 114311 w 128937"/>
                <a:gd name="connsiteY2" fmla="*/ 224474 h 250056"/>
                <a:gd name="connsiteX3" fmla="*/ 116928 w 128937"/>
                <a:gd name="connsiteY3" fmla="*/ 232983 h 250056"/>
                <a:gd name="connsiteX4" fmla="*/ 102955 w 128937"/>
                <a:gd name="connsiteY4" fmla="*/ 249639 h 250056"/>
                <a:gd name="connsiteX5" fmla="*/ 100566 w 128937"/>
                <a:gd name="connsiteY5" fmla="*/ 249672 h 250056"/>
                <a:gd name="connsiteX6" fmla="*/ 87476 w 128937"/>
                <a:gd name="connsiteY6" fmla="*/ 242473 h 250056"/>
                <a:gd name="connsiteX7" fmla="*/ 49514 w 128937"/>
                <a:gd name="connsiteY7" fmla="*/ 181931 h 250056"/>
                <a:gd name="connsiteX8" fmla="*/ 36752 w 128937"/>
                <a:gd name="connsiteY8" fmla="*/ 192403 h 250056"/>
                <a:gd name="connsiteX9" fmla="*/ 32170 w 128937"/>
                <a:gd name="connsiteY9" fmla="*/ 233637 h 250056"/>
                <a:gd name="connsiteX10" fmla="*/ 13516 w 128937"/>
                <a:gd name="connsiteY10" fmla="*/ 249672 h 250056"/>
                <a:gd name="connsiteX11" fmla="*/ -228 w 128937"/>
                <a:gd name="connsiteY11" fmla="*/ 235928 h 250056"/>
                <a:gd name="connsiteX12" fmla="*/ 26607 w 128937"/>
                <a:gd name="connsiteY12" fmla="*/ 16014 h 250056"/>
                <a:gd name="connsiteX13" fmla="*/ 44606 w 128937"/>
                <a:gd name="connsiteY13" fmla="*/ -349 h 250056"/>
                <a:gd name="connsiteX14" fmla="*/ 59005 w 128937"/>
                <a:gd name="connsiteY14" fmla="*/ 14050 h 250056"/>
                <a:gd name="connsiteX15" fmla="*/ 41660 w 128937"/>
                <a:gd name="connsiteY15" fmla="*/ 153460 h 250056"/>
                <a:gd name="connsiteX16" fmla="*/ 104166 w 128937"/>
                <a:gd name="connsiteY16" fmla="*/ 100772 h 250056"/>
                <a:gd name="connsiteX17" fmla="*/ 113983 w 128937"/>
                <a:gd name="connsiteY17" fmla="*/ 97500 h 250056"/>
                <a:gd name="connsiteX18" fmla="*/ 128710 w 128937"/>
                <a:gd name="connsiteY18" fmla="*/ 111899 h 250056"/>
                <a:gd name="connsiteX19" fmla="*/ 123474 w 128937"/>
                <a:gd name="connsiteY19" fmla="*/ 123680 h 25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937" h="250056">
                  <a:moveTo>
                    <a:pt x="123474" y="123680"/>
                  </a:moveTo>
                  <a:lnTo>
                    <a:pt x="75040" y="164586"/>
                  </a:lnTo>
                  <a:lnTo>
                    <a:pt x="114311" y="224474"/>
                  </a:lnTo>
                  <a:cubicBezTo>
                    <a:pt x="116046" y="226961"/>
                    <a:pt x="116961" y="229939"/>
                    <a:pt x="116928" y="232983"/>
                  </a:cubicBezTo>
                  <a:cubicBezTo>
                    <a:pt x="117681" y="241458"/>
                    <a:pt x="111398" y="248920"/>
                    <a:pt x="102955" y="249639"/>
                  </a:cubicBezTo>
                  <a:cubicBezTo>
                    <a:pt x="102170" y="249705"/>
                    <a:pt x="101352" y="249738"/>
                    <a:pt x="100566" y="249672"/>
                  </a:cubicBezTo>
                  <a:cubicBezTo>
                    <a:pt x="95265" y="249705"/>
                    <a:pt x="90290" y="246989"/>
                    <a:pt x="87476" y="242473"/>
                  </a:cubicBezTo>
                  <a:lnTo>
                    <a:pt x="49514" y="181931"/>
                  </a:lnTo>
                  <a:lnTo>
                    <a:pt x="36752" y="192403"/>
                  </a:lnTo>
                  <a:lnTo>
                    <a:pt x="32170" y="233637"/>
                  </a:lnTo>
                  <a:cubicBezTo>
                    <a:pt x="30599" y="242767"/>
                    <a:pt x="22778" y="249477"/>
                    <a:pt x="13516" y="249672"/>
                  </a:cubicBezTo>
                  <a:cubicBezTo>
                    <a:pt x="5924" y="249672"/>
                    <a:pt x="-228" y="243520"/>
                    <a:pt x="-228" y="235928"/>
                  </a:cubicBezTo>
                  <a:cubicBezTo>
                    <a:pt x="-228" y="235928"/>
                    <a:pt x="-228" y="235928"/>
                    <a:pt x="26607" y="16014"/>
                  </a:cubicBezTo>
                  <a:cubicBezTo>
                    <a:pt x="27981" y="6982"/>
                    <a:pt x="35508" y="175"/>
                    <a:pt x="44606" y="-349"/>
                  </a:cubicBezTo>
                  <a:cubicBezTo>
                    <a:pt x="52558" y="-349"/>
                    <a:pt x="59005" y="6098"/>
                    <a:pt x="59005" y="14050"/>
                  </a:cubicBezTo>
                  <a:cubicBezTo>
                    <a:pt x="59005" y="14050"/>
                    <a:pt x="59005" y="14050"/>
                    <a:pt x="41660" y="153460"/>
                  </a:cubicBezTo>
                  <a:lnTo>
                    <a:pt x="104166" y="100772"/>
                  </a:lnTo>
                  <a:cubicBezTo>
                    <a:pt x="106947" y="98579"/>
                    <a:pt x="110416" y="97435"/>
                    <a:pt x="113983" y="97500"/>
                  </a:cubicBezTo>
                  <a:cubicBezTo>
                    <a:pt x="121870" y="97827"/>
                    <a:pt x="128219" y="104045"/>
                    <a:pt x="128710" y="111899"/>
                  </a:cubicBezTo>
                  <a:cubicBezTo>
                    <a:pt x="128644" y="116382"/>
                    <a:pt x="126747" y="120637"/>
                    <a:pt x="123474" y="12368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9" name="Frihandsfigur: Form 58">
              <a:extLst>
                <a:ext uri="{FF2B5EF4-FFF2-40B4-BE49-F238E27FC236}">
                  <a16:creationId xmlns:a16="http://schemas.microsoft.com/office/drawing/2014/main" id="{688F52D8-FD8F-491C-B738-FD0154CED800}"/>
                </a:ext>
              </a:extLst>
            </p:cNvPr>
            <p:cNvSpPr/>
            <p:nvPr/>
          </p:nvSpPr>
          <p:spPr>
            <a:xfrm>
              <a:off x="3996438" y="4571876"/>
              <a:ext cx="124714" cy="155750"/>
            </a:xfrm>
            <a:custGeom>
              <a:avLst/>
              <a:gdLst>
                <a:gd name="connsiteX0" fmla="*/ 108420 w 124714"/>
                <a:gd name="connsiteY0" fmla="*/ 37263 h 155750"/>
                <a:gd name="connsiteX1" fmla="*/ 101875 w 124714"/>
                <a:gd name="connsiteY1" fmla="*/ 35299 h 155750"/>
                <a:gd name="connsiteX2" fmla="*/ 71114 w 124714"/>
                <a:gd name="connsiteY2" fmla="*/ 28100 h 155750"/>
                <a:gd name="connsiteX3" fmla="*/ 48206 w 124714"/>
                <a:gd name="connsiteY3" fmla="*/ 44136 h 155750"/>
                <a:gd name="connsiteX4" fmla="*/ 66532 w 124714"/>
                <a:gd name="connsiteY4" fmla="*/ 60825 h 155750"/>
                <a:gd name="connsiteX5" fmla="*/ 114966 w 124714"/>
                <a:gd name="connsiteY5" fmla="*/ 105332 h 155750"/>
                <a:gd name="connsiteX6" fmla="*/ 53442 w 124714"/>
                <a:gd name="connsiteY6" fmla="*/ 155402 h 155750"/>
                <a:gd name="connsiteX7" fmla="*/ 6645 w 124714"/>
                <a:gd name="connsiteY7" fmla="*/ 143620 h 155750"/>
                <a:gd name="connsiteX8" fmla="*/ -228 w 124714"/>
                <a:gd name="connsiteY8" fmla="*/ 132494 h 155750"/>
                <a:gd name="connsiteX9" fmla="*/ 16790 w 124714"/>
                <a:gd name="connsiteY9" fmla="*/ 116458 h 155750"/>
                <a:gd name="connsiteX10" fmla="*/ 22026 w 124714"/>
                <a:gd name="connsiteY10" fmla="*/ 116458 h 155750"/>
                <a:gd name="connsiteX11" fmla="*/ 56387 w 124714"/>
                <a:gd name="connsiteY11" fmla="*/ 127257 h 155750"/>
                <a:gd name="connsiteX12" fmla="*/ 82895 w 124714"/>
                <a:gd name="connsiteY12" fmla="*/ 109913 h 155750"/>
                <a:gd name="connsiteX13" fmla="*/ 17444 w 124714"/>
                <a:gd name="connsiteY13" fmla="*/ 48063 h 155750"/>
                <a:gd name="connsiteX14" fmla="*/ 72325 w 124714"/>
                <a:gd name="connsiteY14" fmla="*/ -240 h 155750"/>
                <a:gd name="connsiteX15" fmla="*/ 74713 w 124714"/>
                <a:gd name="connsiteY15" fmla="*/ -44 h 155750"/>
                <a:gd name="connsiteX16" fmla="*/ 124456 w 124714"/>
                <a:gd name="connsiteY16" fmla="*/ 19918 h 155750"/>
                <a:gd name="connsiteX17" fmla="*/ 109108 w 124714"/>
                <a:gd name="connsiteY17" fmla="*/ 37231 h 155750"/>
                <a:gd name="connsiteX18" fmla="*/ 108420 w 124714"/>
                <a:gd name="connsiteY18" fmla="*/ 37263 h 15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714" h="155750">
                  <a:moveTo>
                    <a:pt x="108420" y="37263"/>
                  </a:moveTo>
                  <a:cubicBezTo>
                    <a:pt x="106097" y="37263"/>
                    <a:pt x="103806" y="36576"/>
                    <a:pt x="101875" y="35299"/>
                  </a:cubicBezTo>
                  <a:cubicBezTo>
                    <a:pt x="92352" y="30424"/>
                    <a:pt x="81815" y="27937"/>
                    <a:pt x="71114" y="28100"/>
                  </a:cubicBezTo>
                  <a:cubicBezTo>
                    <a:pt x="60314" y="28100"/>
                    <a:pt x="48206" y="31372"/>
                    <a:pt x="48206" y="44136"/>
                  </a:cubicBezTo>
                  <a:cubicBezTo>
                    <a:pt x="48206" y="56898"/>
                    <a:pt x="58023" y="57553"/>
                    <a:pt x="66532" y="60825"/>
                  </a:cubicBezTo>
                  <a:cubicBezTo>
                    <a:pt x="87803" y="69006"/>
                    <a:pt x="114966" y="77188"/>
                    <a:pt x="114966" y="105332"/>
                  </a:cubicBezTo>
                  <a:cubicBezTo>
                    <a:pt x="114966" y="140675"/>
                    <a:pt x="84858" y="155402"/>
                    <a:pt x="53442" y="155402"/>
                  </a:cubicBezTo>
                  <a:cubicBezTo>
                    <a:pt x="37112" y="155336"/>
                    <a:pt x="21044" y="151311"/>
                    <a:pt x="6645" y="143620"/>
                  </a:cubicBezTo>
                  <a:cubicBezTo>
                    <a:pt x="2489" y="141461"/>
                    <a:pt x="-162" y="137173"/>
                    <a:pt x="-228" y="132494"/>
                  </a:cubicBezTo>
                  <a:cubicBezTo>
                    <a:pt x="591" y="123625"/>
                    <a:pt x="7889" y="116753"/>
                    <a:pt x="16790" y="116458"/>
                  </a:cubicBezTo>
                  <a:cubicBezTo>
                    <a:pt x="18524" y="116066"/>
                    <a:pt x="20291" y="116066"/>
                    <a:pt x="22026" y="116458"/>
                  </a:cubicBezTo>
                  <a:cubicBezTo>
                    <a:pt x="32497" y="122676"/>
                    <a:pt x="44246" y="126375"/>
                    <a:pt x="56387" y="127257"/>
                  </a:cubicBezTo>
                  <a:cubicBezTo>
                    <a:pt x="68168" y="127257"/>
                    <a:pt x="82895" y="124967"/>
                    <a:pt x="82895" y="109913"/>
                  </a:cubicBezTo>
                  <a:cubicBezTo>
                    <a:pt x="82895" y="81116"/>
                    <a:pt x="17444" y="93550"/>
                    <a:pt x="17444" y="48063"/>
                  </a:cubicBezTo>
                  <a:cubicBezTo>
                    <a:pt x="19244" y="19559"/>
                    <a:pt x="43821" y="-2073"/>
                    <a:pt x="72325" y="-240"/>
                  </a:cubicBezTo>
                  <a:cubicBezTo>
                    <a:pt x="73142" y="-207"/>
                    <a:pt x="73928" y="-142"/>
                    <a:pt x="74713" y="-44"/>
                  </a:cubicBezTo>
                  <a:cubicBezTo>
                    <a:pt x="86167" y="-44"/>
                    <a:pt x="124456" y="3229"/>
                    <a:pt x="124456" y="19918"/>
                  </a:cubicBezTo>
                  <a:cubicBezTo>
                    <a:pt x="125012" y="28951"/>
                    <a:pt x="118140" y="36706"/>
                    <a:pt x="109108" y="37231"/>
                  </a:cubicBezTo>
                  <a:cubicBezTo>
                    <a:pt x="108879" y="37263"/>
                    <a:pt x="108649" y="37263"/>
                    <a:pt x="108420" y="3726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0" name="Frihandsfigur: Form 59">
              <a:extLst>
                <a:ext uri="{FF2B5EF4-FFF2-40B4-BE49-F238E27FC236}">
                  <a16:creationId xmlns:a16="http://schemas.microsoft.com/office/drawing/2014/main" id="{94D704B9-F5F1-499D-B8E4-01DB6978DD3C}"/>
                </a:ext>
              </a:extLst>
            </p:cNvPr>
            <p:cNvSpPr/>
            <p:nvPr/>
          </p:nvSpPr>
          <p:spPr>
            <a:xfrm>
              <a:off x="4132576" y="4575432"/>
              <a:ext cx="140391" cy="152128"/>
            </a:xfrm>
            <a:custGeom>
              <a:avLst/>
              <a:gdLst>
                <a:gd name="connsiteX0" fmla="*/ 140164 w 140391"/>
                <a:gd name="connsiteY0" fmla="*/ 46470 h 152128"/>
                <a:gd name="connsiteX1" fmla="*/ 129038 w 140391"/>
                <a:gd name="connsiteY1" fmla="*/ 135483 h 152128"/>
                <a:gd name="connsiteX2" fmla="*/ 111038 w 140391"/>
                <a:gd name="connsiteY2" fmla="*/ 151518 h 152128"/>
                <a:gd name="connsiteX3" fmla="*/ 96966 w 140391"/>
                <a:gd name="connsiteY3" fmla="*/ 138101 h 152128"/>
                <a:gd name="connsiteX4" fmla="*/ 96966 w 140391"/>
                <a:gd name="connsiteY4" fmla="*/ 137447 h 152128"/>
                <a:gd name="connsiteX5" fmla="*/ 96966 w 140391"/>
                <a:gd name="connsiteY5" fmla="*/ 135156 h 152128"/>
                <a:gd name="connsiteX6" fmla="*/ 45915 w 140391"/>
                <a:gd name="connsiteY6" fmla="*/ 151518 h 152128"/>
                <a:gd name="connsiteX7" fmla="*/ 2 w 140391"/>
                <a:gd name="connsiteY7" fmla="*/ 114833 h 152128"/>
                <a:gd name="connsiteX8" fmla="*/ -228 w 140391"/>
                <a:gd name="connsiteY8" fmla="*/ 111593 h 152128"/>
                <a:gd name="connsiteX9" fmla="*/ 78968 w 140391"/>
                <a:gd name="connsiteY9" fmla="*/ 52688 h 152128"/>
                <a:gd name="connsiteX10" fmla="*/ 106785 w 140391"/>
                <a:gd name="connsiteY10" fmla="*/ 54652 h 152128"/>
                <a:gd name="connsiteX11" fmla="*/ 106785 w 140391"/>
                <a:gd name="connsiteY11" fmla="*/ 47452 h 152128"/>
                <a:gd name="connsiteX12" fmla="*/ 74059 w 140391"/>
                <a:gd name="connsiteY12" fmla="*/ 26507 h 152128"/>
                <a:gd name="connsiteX13" fmla="*/ 39697 w 140391"/>
                <a:gd name="connsiteY13" fmla="*/ 35344 h 152128"/>
                <a:gd name="connsiteX14" fmla="*/ 33479 w 140391"/>
                <a:gd name="connsiteY14" fmla="*/ 37307 h 152128"/>
                <a:gd name="connsiteX15" fmla="*/ 20717 w 140391"/>
                <a:gd name="connsiteY15" fmla="*/ 24544 h 152128"/>
                <a:gd name="connsiteX16" fmla="*/ 30534 w 140391"/>
                <a:gd name="connsiteY16" fmla="*/ 9490 h 152128"/>
                <a:gd name="connsiteX17" fmla="*/ 84531 w 140391"/>
                <a:gd name="connsiteY17" fmla="*/ -327 h 152128"/>
                <a:gd name="connsiteX18" fmla="*/ 139182 w 140391"/>
                <a:gd name="connsiteY18" fmla="*/ 39271 h 152128"/>
                <a:gd name="connsiteX19" fmla="*/ 140164 w 140391"/>
                <a:gd name="connsiteY19" fmla="*/ 46470 h 152128"/>
                <a:gd name="connsiteX20" fmla="*/ 81913 w 140391"/>
                <a:gd name="connsiteY20" fmla="*/ 75923 h 152128"/>
                <a:gd name="connsiteX21" fmla="*/ 33153 w 140391"/>
                <a:gd name="connsiteY21" fmla="*/ 104067 h 152128"/>
                <a:gd name="connsiteX22" fmla="*/ 57369 w 140391"/>
                <a:gd name="connsiteY22" fmla="*/ 123375 h 152128"/>
                <a:gd name="connsiteX23" fmla="*/ 100239 w 140391"/>
                <a:gd name="connsiteY23" fmla="*/ 110939 h 152128"/>
                <a:gd name="connsiteX24" fmla="*/ 103838 w 140391"/>
                <a:gd name="connsiteY24" fmla="*/ 78214 h 152128"/>
                <a:gd name="connsiteX25" fmla="*/ 81913 w 140391"/>
                <a:gd name="connsiteY25" fmla="*/ 75923 h 15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391" h="152128">
                  <a:moveTo>
                    <a:pt x="140164" y="46470"/>
                  </a:moveTo>
                  <a:lnTo>
                    <a:pt x="129038" y="135483"/>
                  </a:lnTo>
                  <a:cubicBezTo>
                    <a:pt x="127892" y="144580"/>
                    <a:pt x="120201" y="151420"/>
                    <a:pt x="111038" y="151518"/>
                  </a:cubicBezTo>
                  <a:cubicBezTo>
                    <a:pt x="103446" y="151715"/>
                    <a:pt x="97163" y="145694"/>
                    <a:pt x="96966" y="138101"/>
                  </a:cubicBezTo>
                  <a:cubicBezTo>
                    <a:pt x="96966" y="137872"/>
                    <a:pt x="96966" y="137675"/>
                    <a:pt x="96966" y="137447"/>
                  </a:cubicBezTo>
                  <a:lnTo>
                    <a:pt x="96966" y="135156"/>
                  </a:lnTo>
                  <a:cubicBezTo>
                    <a:pt x="81651" y="144941"/>
                    <a:pt x="64077" y="150602"/>
                    <a:pt x="45915" y="151518"/>
                  </a:cubicBezTo>
                  <a:cubicBezTo>
                    <a:pt x="23106" y="154071"/>
                    <a:pt x="2553" y="137643"/>
                    <a:pt x="2" y="114833"/>
                  </a:cubicBezTo>
                  <a:cubicBezTo>
                    <a:pt x="-129" y="113753"/>
                    <a:pt x="-195" y="112674"/>
                    <a:pt x="-228" y="111593"/>
                  </a:cubicBezTo>
                  <a:cubicBezTo>
                    <a:pt x="-228" y="71014"/>
                    <a:pt x="44606" y="52688"/>
                    <a:pt x="78968" y="52688"/>
                  </a:cubicBezTo>
                  <a:cubicBezTo>
                    <a:pt x="88262" y="52688"/>
                    <a:pt x="97556" y="53342"/>
                    <a:pt x="106785" y="54652"/>
                  </a:cubicBezTo>
                  <a:cubicBezTo>
                    <a:pt x="106947" y="52263"/>
                    <a:pt x="106947" y="49841"/>
                    <a:pt x="106785" y="47452"/>
                  </a:cubicBezTo>
                  <a:cubicBezTo>
                    <a:pt x="106785" y="28798"/>
                    <a:pt x="89767" y="26507"/>
                    <a:pt x="74059" y="26507"/>
                  </a:cubicBezTo>
                  <a:cubicBezTo>
                    <a:pt x="62049" y="26573"/>
                    <a:pt x="50234" y="29616"/>
                    <a:pt x="39697" y="35344"/>
                  </a:cubicBezTo>
                  <a:cubicBezTo>
                    <a:pt x="37831" y="36554"/>
                    <a:pt x="35704" y="37209"/>
                    <a:pt x="33479" y="37307"/>
                  </a:cubicBezTo>
                  <a:cubicBezTo>
                    <a:pt x="26443" y="37307"/>
                    <a:pt x="20717" y="31581"/>
                    <a:pt x="20717" y="24544"/>
                  </a:cubicBezTo>
                  <a:cubicBezTo>
                    <a:pt x="20782" y="18032"/>
                    <a:pt x="24611" y="12174"/>
                    <a:pt x="30534" y="9490"/>
                  </a:cubicBezTo>
                  <a:cubicBezTo>
                    <a:pt x="47715" y="2683"/>
                    <a:pt x="66074" y="-654"/>
                    <a:pt x="84531" y="-327"/>
                  </a:cubicBezTo>
                  <a:cubicBezTo>
                    <a:pt x="111366" y="-327"/>
                    <a:pt x="139182" y="7527"/>
                    <a:pt x="139182" y="39271"/>
                  </a:cubicBezTo>
                  <a:cubicBezTo>
                    <a:pt x="139673" y="41659"/>
                    <a:pt x="140000" y="44048"/>
                    <a:pt x="140164" y="46470"/>
                  </a:cubicBezTo>
                  <a:close/>
                  <a:moveTo>
                    <a:pt x="81913" y="75923"/>
                  </a:moveTo>
                  <a:cubicBezTo>
                    <a:pt x="64896" y="75923"/>
                    <a:pt x="33153" y="81487"/>
                    <a:pt x="33153" y="104067"/>
                  </a:cubicBezTo>
                  <a:cubicBezTo>
                    <a:pt x="33153" y="117811"/>
                    <a:pt x="45261" y="123375"/>
                    <a:pt x="57369" y="123375"/>
                  </a:cubicBezTo>
                  <a:cubicBezTo>
                    <a:pt x="72520" y="123080"/>
                    <a:pt x="87313" y="118793"/>
                    <a:pt x="100239" y="110939"/>
                  </a:cubicBezTo>
                  <a:lnTo>
                    <a:pt x="103838" y="78214"/>
                  </a:lnTo>
                  <a:cubicBezTo>
                    <a:pt x="96639" y="76643"/>
                    <a:pt x="89276" y="75858"/>
                    <a:pt x="81913" y="7592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1" name="Frihandsfigur: Form 60">
              <a:extLst>
                <a:ext uri="{FF2B5EF4-FFF2-40B4-BE49-F238E27FC236}">
                  <a16:creationId xmlns:a16="http://schemas.microsoft.com/office/drawing/2014/main" id="{95051C3C-CDF6-4EF1-8DC7-D2E712806993}"/>
                </a:ext>
              </a:extLst>
            </p:cNvPr>
            <p:cNvSpPr/>
            <p:nvPr/>
          </p:nvSpPr>
          <p:spPr>
            <a:xfrm>
              <a:off x="4297184" y="4574948"/>
              <a:ext cx="234763" cy="152367"/>
            </a:xfrm>
            <a:custGeom>
              <a:avLst/>
              <a:gdLst>
                <a:gd name="connsiteX0" fmla="*/ 234413 w 234763"/>
                <a:gd name="connsiteY0" fmla="*/ 51209 h 152367"/>
                <a:gd name="connsiteX1" fmla="*/ 223613 w 234763"/>
                <a:gd name="connsiteY1" fmla="*/ 136295 h 152367"/>
                <a:gd name="connsiteX2" fmla="*/ 205615 w 234763"/>
                <a:gd name="connsiteY2" fmla="*/ 152002 h 152367"/>
                <a:gd name="connsiteX3" fmla="*/ 191543 w 234763"/>
                <a:gd name="connsiteY3" fmla="*/ 138585 h 152367"/>
                <a:gd name="connsiteX4" fmla="*/ 191543 w 234763"/>
                <a:gd name="connsiteY4" fmla="*/ 138258 h 152367"/>
                <a:gd name="connsiteX5" fmla="*/ 191543 w 234763"/>
                <a:gd name="connsiteY5" fmla="*/ 136295 h 152367"/>
                <a:gd name="connsiteX6" fmla="*/ 201033 w 234763"/>
                <a:gd name="connsiteY6" fmla="*/ 57753 h 152367"/>
                <a:gd name="connsiteX7" fmla="*/ 201033 w 234763"/>
                <a:gd name="connsiteY7" fmla="*/ 53172 h 152367"/>
                <a:gd name="connsiteX8" fmla="*/ 172889 w 234763"/>
                <a:gd name="connsiteY8" fmla="*/ 29282 h 152367"/>
                <a:gd name="connsiteX9" fmla="*/ 135255 w 234763"/>
                <a:gd name="connsiteY9" fmla="*/ 63645 h 152367"/>
                <a:gd name="connsiteX10" fmla="*/ 126092 w 234763"/>
                <a:gd name="connsiteY10" fmla="*/ 136949 h 152367"/>
                <a:gd name="connsiteX11" fmla="*/ 109730 w 234763"/>
                <a:gd name="connsiteY11" fmla="*/ 152002 h 152367"/>
                <a:gd name="connsiteX12" fmla="*/ 95985 w 234763"/>
                <a:gd name="connsiteY12" fmla="*/ 139600 h 152367"/>
                <a:gd name="connsiteX13" fmla="*/ 95985 w 234763"/>
                <a:gd name="connsiteY13" fmla="*/ 139240 h 152367"/>
                <a:gd name="connsiteX14" fmla="*/ 95985 w 234763"/>
                <a:gd name="connsiteY14" fmla="*/ 137277 h 152367"/>
                <a:gd name="connsiteX15" fmla="*/ 105803 w 234763"/>
                <a:gd name="connsiteY15" fmla="*/ 60372 h 152367"/>
                <a:gd name="connsiteX16" fmla="*/ 105803 w 234763"/>
                <a:gd name="connsiteY16" fmla="*/ 53500 h 152367"/>
                <a:gd name="connsiteX17" fmla="*/ 86494 w 234763"/>
                <a:gd name="connsiteY17" fmla="*/ 29249 h 152367"/>
                <a:gd name="connsiteX18" fmla="*/ 81259 w 234763"/>
                <a:gd name="connsiteY18" fmla="*/ 29282 h 152367"/>
                <a:gd name="connsiteX19" fmla="*/ 40843 w 234763"/>
                <a:gd name="connsiteY19" fmla="*/ 62499 h 152367"/>
                <a:gd name="connsiteX20" fmla="*/ 40679 w 234763"/>
                <a:gd name="connsiteY20" fmla="*/ 65608 h 152367"/>
                <a:gd name="connsiteX21" fmla="*/ 32171 w 234763"/>
                <a:gd name="connsiteY21" fmla="*/ 136295 h 152367"/>
                <a:gd name="connsiteX22" fmla="*/ 13844 w 234763"/>
                <a:gd name="connsiteY22" fmla="*/ 152002 h 152367"/>
                <a:gd name="connsiteX23" fmla="*/ -228 w 234763"/>
                <a:gd name="connsiteY23" fmla="*/ 137603 h 152367"/>
                <a:gd name="connsiteX24" fmla="*/ -228 w 234763"/>
                <a:gd name="connsiteY24" fmla="*/ 135967 h 152367"/>
                <a:gd name="connsiteX25" fmla="*/ 14499 w 234763"/>
                <a:gd name="connsiteY25" fmla="*/ 15865 h 152367"/>
                <a:gd name="connsiteX26" fmla="*/ 32497 w 234763"/>
                <a:gd name="connsiteY26" fmla="*/ -170 h 152367"/>
                <a:gd name="connsiteX27" fmla="*/ 46897 w 234763"/>
                <a:gd name="connsiteY27" fmla="*/ 12920 h 152367"/>
                <a:gd name="connsiteX28" fmla="*/ 46897 w 234763"/>
                <a:gd name="connsiteY28" fmla="*/ 13575 h 152367"/>
                <a:gd name="connsiteX29" fmla="*/ 46897 w 234763"/>
                <a:gd name="connsiteY29" fmla="*/ 19138 h 152367"/>
                <a:gd name="connsiteX30" fmla="*/ 97622 w 234763"/>
                <a:gd name="connsiteY30" fmla="*/ -170 h 152367"/>
                <a:gd name="connsiteX31" fmla="*/ 135255 w 234763"/>
                <a:gd name="connsiteY31" fmla="*/ 21101 h 152367"/>
                <a:gd name="connsiteX32" fmla="*/ 188270 w 234763"/>
                <a:gd name="connsiteY32" fmla="*/ -170 h 152367"/>
                <a:gd name="connsiteX33" fmla="*/ 234413 w 234763"/>
                <a:gd name="connsiteY33" fmla="*/ 41718 h 152367"/>
                <a:gd name="connsiteX34" fmla="*/ 234413 w 234763"/>
                <a:gd name="connsiteY34" fmla="*/ 51209 h 15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34763" h="152367">
                  <a:moveTo>
                    <a:pt x="234413" y="51209"/>
                  </a:moveTo>
                  <a:lnTo>
                    <a:pt x="223613" y="136295"/>
                  </a:lnTo>
                  <a:cubicBezTo>
                    <a:pt x="222206" y="145195"/>
                    <a:pt x="214614" y="151807"/>
                    <a:pt x="205615" y="152002"/>
                  </a:cubicBezTo>
                  <a:cubicBezTo>
                    <a:pt x="198023" y="152199"/>
                    <a:pt x="191739" y="146178"/>
                    <a:pt x="191543" y="138585"/>
                  </a:cubicBezTo>
                  <a:cubicBezTo>
                    <a:pt x="191543" y="138487"/>
                    <a:pt x="191543" y="138356"/>
                    <a:pt x="191543" y="138258"/>
                  </a:cubicBezTo>
                  <a:lnTo>
                    <a:pt x="191543" y="136295"/>
                  </a:lnTo>
                  <a:lnTo>
                    <a:pt x="201033" y="57753"/>
                  </a:lnTo>
                  <a:cubicBezTo>
                    <a:pt x="201360" y="56248"/>
                    <a:pt x="201360" y="54677"/>
                    <a:pt x="201033" y="53172"/>
                  </a:cubicBezTo>
                  <a:cubicBezTo>
                    <a:pt x="201033" y="36482"/>
                    <a:pt x="188598" y="29282"/>
                    <a:pt x="172889" y="29282"/>
                  </a:cubicBezTo>
                  <a:cubicBezTo>
                    <a:pt x="153123" y="28726"/>
                    <a:pt x="136499" y="43911"/>
                    <a:pt x="135255" y="63645"/>
                  </a:cubicBezTo>
                  <a:lnTo>
                    <a:pt x="126092" y="136949"/>
                  </a:lnTo>
                  <a:cubicBezTo>
                    <a:pt x="125111" y="145327"/>
                    <a:pt x="118173" y="151741"/>
                    <a:pt x="109730" y="152002"/>
                  </a:cubicBezTo>
                  <a:cubicBezTo>
                    <a:pt x="102497" y="152363"/>
                    <a:pt x="96377" y="146799"/>
                    <a:pt x="95985" y="139600"/>
                  </a:cubicBezTo>
                  <a:cubicBezTo>
                    <a:pt x="95985" y="139469"/>
                    <a:pt x="95985" y="139371"/>
                    <a:pt x="95985" y="139240"/>
                  </a:cubicBezTo>
                  <a:lnTo>
                    <a:pt x="95985" y="137277"/>
                  </a:lnTo>
                  <a:lnTo>
                    <a:pt x="105803" y="60372"/>
                  </a:lnTo>
                  <a:cubicBezTo>
                    <a:pt x="105966" y="58081"/>
                    <a:pt x="105966" y="55790"/>
                    <a:pt x="105803" y="53500"/>
                  </a:cubicBezTo>
                  <a:cubicBezTo>
                    <a:pt x="107177" y="41457"/>
                    <a:pt x="98504" y="30625"/>
                    <a:pt x="86494" y="29249"/>
                  </a:cubicBezTo>
                  <a:cubicBezTo>
                    <a:pt x="84760" y="29054"/>
                    <a:pt x="82993" y="29054"/>
                    <a:pt x="81259" y="29282"/>
                  </a:cubicBezTo>
                  <a:cubicBezTo>
                    <a:pt x="60936" y="27286"/>
                    <a:pt x="42839" y="42144"/>
                    <a:pt x="40843" y="62499"/>
                  </a:cubicBezTo>
                  <a:cubicBezTo>
                    <a:pt x="40745" y="63514"/>
                    <a:pt x="40679" y="64560"/>
                    <a:pt x="40679" y="65608"/>
                  </a:cubicBezTo>
                  <a:lnTo>
                    <a:pt x="32171" y="136295"/>
                  </a:lnTo>
                  <a:cubicBezTo>
                    <a:pt x="30600" y="145228"/>
                    <a:pt x="22909" y="151839"/>
                    <a:pt x="13844" y="152002"/>
                  </a:cubicBezTo>
                  <a:cubicBezTo>
                    <a:pt x="6023" y="151839"/>
                    <a:pt x="-228" y="145425"/>
                    <a:pt x="-228" y="137603"/>
                  </a:cubicBezTo>
                  <a:lnTo>
                    <a:pt x="-228" y="135967"/>
                  </a:lnTo>
                  <a:lnTo>
                    <a:pt x="14499" y="15865"/>
                  </a:lnTo>
                  <a:cubicBezTo>
                    <a:pt x="15644" y="6768"/>
                    <a:pt x="23334" y="-72"/>
                    <a:pt x="32497" y="-170"/>
                  </a:cubicBezTo>
                  <a:cubicBezTo>
                    <a:pt x="40090" y="-530"/>
                    <a:pt x="46504" y="5328"/>
                    <a:pt x="46897" y="12920"/>
                  </a:cubicBezTo>
                  <a:cubicBezTo>
                    <a:pt x="46897" y="13116"/>
                    <a:pt x="46897" y="13345"/>
                    <a:pt x="46897" y="13575"/>
                  </a:cubicBezTo>
                  <a:cubicBezTo>
                    <a:pt x="47060" y="15439"/>
                    <a:pt x="47060" y="17272"/>
                    <a:pt x="46897" y="19138"/>
                  </a:cubicBezTo>
                  <a:cubicBezTo>
                    <a:pt x="60707" y="6440"/>
                    <a:pt x="78869" y="-465"/>
                    <a:pt x="97622" y="-170"/>
                  </a:cubicBezTo>
                  <a:cubicBezTo>
                    <a:pt x="113395" y="-1708"/>
                    <a:pt x="128448" y="6801"/>
                    <a:pt x="135255" y="21101"/>
                  </a:cubicBezTo>
                  <a:cubicBezTo>
                    <a:pt x="149261" y="7029"/>
                    <a:pt x="168439" y="-661"/>
                    <a:pt x="188270" y="-170"/>
                  </a:cubicBezTo>
                  <a:cubicBezTo>
                    <a:pt x="215760" y="-170"/>
                    <a:pt x="234413" y="12920"/>
                    <a:pt x="234413" y="41718"/>
                  </a:cubicBezTo>
                  <a:cubicBezTo>
                    <a:pt x="234577" y="44893"/>
                    <a:pt x="234577" y="48034"/>
                    <a:pt x="234413" y="5120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2" name="Frihandsfigur: Form 61">
              <a:extLst>
                <a:ext uri="{FF2B5EF4-FFF2-40B4-BE49-F238E27FC236}">
                  <a16:creationId xmlns:a16="http://schemas.microsoft.com/office/drawing/2014/main" id="{EE485065-051E-4B1A-A172-8EC28C1486D1}"/>
                </a:ext>
              </a:extLst>
            </p:cNvPr>
            <p:cNvSpPr/>
            <p:nvPr/>
          </p:nvSpPr>
          <p:spPr>
            <a:xfrm>
              <a:off x="4556369" y="4574940"/>
              <a:ext cx="234329" cy="152363"/>
            </a:xfrm>
            <a:custGeom>
              <a:avLst/>
              <a:gdLst>
                <a:gd name="connsiteX0" fmla="*/ 233758 w 234329"/>
                <a:gd name="connsiteY0" fmla="*/ 51217 h 152363"/>
                <a:gd name="connsiteX1" fmla="*/ 223286 w 234329"/>
                <a:gd name="connsiteY1" fmla="*/ 136303 h 152363"/>
                <a:gd name="connsiteX2" fmla="*/ 205287 w 234329"/>
                <a:gd name="connsiteY2" fmla="*/ 152010 h 152363"/>
                <a:gd name="connsiteX3" fmla="*/ 191216 w 234329"/>
                <a:gd name="connsiteY3" fmla="*/ 138593 h 152363"/>
                <a:gd name="connsiteX4" fmla="*/ 191216 w 234329"/>
                <a:gd name="connsiteY4" fmla="*/ 138266 h 152363"/>
                <a:gd name="connsiteX5" fmla="*/ 191216 w 234329"/>
                <a:gd name="connsiteY5" fmla="*/ 136303 h 152363"/>
                <a:gd name="connsiteX6" fmla="*/ 200705 w 234329"/>
                <a:gd name="connsiteY6" fmla="*/ 57761 h 152363"/>
                <a:gd name="connsiteX7" fmla="*/ 200705 w 234329"/>
                <a:gd name="connsiteY7" fmla="*/ 53180 h 152363"/>
                <a:gd name="connsiteX8" fmla="*/ 172889 w 234329"/>
                <a:gd name="connsiteY8" fmla="*/ 29290 h 152363"/>
                <a:gd name="connsiteX9" fmla="*/ 135254 w 234329"/>
                <a:gd name="connsiteY9" fmla="*/ 63652 h 152363"/>
                <a:gd name="connsiteX10" fmla="*/ 126091 w 234329"/>
                <a:gd name="connsiteY10" fmla="*/ 136957 h 152363"/>
                <a:gd name="connsiteX11" fmla="*/ 109402 w 234329"/>
                <a:gd name="connsiteY11" fmla="*/ 152010 h 152363"/>
                <a:gd name="connsiteX12" fmla="*/ 95985 w 234329"/>
                <a:gd name="connsiteY12" fmla="*/ 139248 h 152363"/>
                <a:gd name="connsiteX13" fmla="*/ 95985 w 234329"/>
                <a:gd name="connsiteY13" fmla="*/ 139248 h 152363"/>
                <a:gd name="connsiteX14" fmla="*/ 95985 w 234329"/>
                <a:gd name="connsiteY14" fmla="*/ 137284 h 152363"/>
                <a:gd name="connsiteX15" fmla="*/ 105802 w 234329"/>
                <a:gd name="connsiteY15" fmla="*/ 60380 h 152363"/>
                <a:gd name="connsiteX16" fmla="*/ 105802 w 234329"/>
                <a:gd name="connsiteY16" fmla="*/ 53508 h 152363"/>
                <a:gd name="connsiteX17" fmla="*/ 86494 w 234329"/>
                <a:gd name="connsiteY17" fmla="*/ 29257 h 152363"/>
                <a:gd name="connsiteX18" fmla="*/ 81258 w 234329"/>
                <a:gd name="connsiteY18" fmla="*/ 29290 h 152363"/>
                <a:gd name="connsiteX19" fmla="*/ 40843 w 234329"/>
                <a:gd name="connsiteY19" fmla="*/ 62507 h 152363"/>
                <a:gd name="connsiteX20" fmla="*/ 40679 w 234329"/>
                <a:gd name="connsiteY20" fmla="*/ 65616 h 152363"/>
                <a:gd name="connsiteX21" fmla="*/ 32170 w 234329"/>
                <a:gd name="connsiteY21" fmla="*/ 136303 h 152363"/>
                <a:gd name="connsiteX22" fmla="*/ 13844 w 234329"/>
                <a:gd name="connsiteY22" fmla="*/ 152010 h 152363"/>
                <a:gd name="connsiteX23" fmla="*/ -228 w 234329"/>
                <a:gd name="connsiteY23" fmla="*/ 137611 h 152363"/>
                <a:gd name="connsiteX24" fmla="*/ -228 w 234329"/>
                <a:gd name="connsiteY24" fmla="*/ 135975 h 152363"/>
                <a:gd name="connsiteX25" fmla="*/ 14498 w 234329"/>
                <a:gd name="connsiteY25" fmla="*/ 15873 h 152363"/>
                <a:gd name="connsiteX26" fmla="*/ 32497 w 234329"/>
                <a:gd name="connsiteY26" fmla="*/ -162 h 152363"/>
                <a:gd name="connsiteX27" fmla="*/ 46864 w 234329"/>
                <a:gd name="connsiteY27" fmla="*/ 12927 h 152363"/>
                <a:gd name="connsiteX28" fmla="*/ 46897 w 234329"/>
                <a:gd name="connsiteY28" fmla="*/ 13583 h 152363"/>
                <a:gd name="connsiteX29" fmla="*/ 46897 w 234329"/>
                <a:gd name="connsiteY29" fmla="*/ 19145 h 152363"/>
                <a:gd name="connsiteX30" fmla="*/ 97293 w 234329"/>
                <a:gd name="connsiteY30" fmla="*/ -162 h 152363"/>
                <a:gd name="connsiteX31" fmla="*/ 135254 w 234329"/>
                <a:gd name="connsiteY31" fmla="*/ 21109 h 152363"/>
                <a:gd name="connsiteX32" fmla="*/ 187943 w 234329"/>
                <a:gd name="connsiteY32" fmla="*/ -162 h 152363"/>
                <a:gd name="connsiteX33" fmla="*/ 234086 w 234329"/>
                <a:gd name="connsiteY33" fmla="*/ 41726 h 152363"/>
                <a:gd name="connsiteX34" fmla="*/ 233758 w 234329"/>
                <a:gd name="connsiteY34" fmla="*/ 51217 h 152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34329" h="152363">
                  <a:moveTo>
                    <a:pt x="233758" y="51217"/>
                  </a:moveTo>
                  <a:lnTo>
                    <a:pt x="223286" y="136303"/>
                  </a:lnTo>
                  <a:cubicBezTo>
                    <a:pt x="221748" y="145138"/>
                    <a:pt x="214253" y="151684"/>
                    <a:pt x="205287" y="152010"/>
                  </a:cubicBezTo>
                  <a:cubicBezTo>
                    <a:pt x="197695" y="152207"/>
                    <a:pt x="191411" y="146186"/>
                    <a:pt x="191216" y="138593"/>
                  </a:cubicBezTo>
                  <a:cubicBezTo>
                    <a:pt x="191216" y="138495"/>
                    <a:pt x="191216" y="138364"/>
                    <a:pt x="191216" y="138266"/>
                  </a:cubicBezTo>
                  <a:lnTo>
                    <a:pt x="191216" y="136303"/>
                  </a:lnTo>
                  <a:lnTo>
                    <a:pt x="200705" y="57761"/>
                  </a:lnTo>
                  <a:cubicBezTo>
                    <a:pt x="200869" y="56223"/>
                    <a:pt x="200869" y="54718"/>
                    <a:pt x="200705" y="53180"/>
                  </a:cubicBezTo>
                  <a:cubicBezTo>
                    <a:pt x="200705" y="36490"/>
                    <a:pt x="188269" y="29290"/>
                    <a:pt x="172889" y="29290"/>
                  </a:cubicBezTo>
                  <a:cubicBezTo>
                    <a:pt x="153123" y="28734"/>
                    <a:pt x="136499" y="43919"/>
                    <a:pt x="135254" y="63652"/>
                  </a:cubicBezTo>
                  <a:lnTo>
                    <a:pt x="126091" y="136957"/>
                  </a:lnTo>
                  <a:cubicBezTo>
                    <a:pt x="124979" y="145400"/>
                    <a:pt x="117910" y="151748"/>
                    <a:pt x="109402" y="152010"/>
                  </a:cubicBezTo>
                  <a:cubicBezTo>
                    <a:pt x="102170" y="152207"/>
                    <a:pt x="96180" y="146479"/>
                    <a:pt x="95985" y="139248"/>
                  </a:cubicBezTo>
                  <a:cubicBezTo>
                    <a:pt x="95985" y="139248"/>
                    <a:pt x="95985" y="139248"/>
                    <a:pt x="95985" y="139248"/>
                  </a:cubicBezTo>
                  <a:lnTo>
                    <a:pt x="95985" y="137284"/>
                  </a:lnTo>
                  <a:lnTo>
                    <a:pt x="105802" y="60380"/>
                  </a:lnTo>
                  <a:cubicBezTo>
                    <a:pt x="105966" y="58089"/>
                    <a:pt x="105966" y="55798"/>
                    <a:pt x="105802" y="53508"/>
                  </a:cubicBezTo>
                  <a:cubicBezTo>
                    <a:pt x="107176" y="41464"/>
                    <a:pt x="98504" y="30632"/>
                    <a:pt x="86494" y="29257"/>
                  </a:cubicBezTo>
                  <a:cubicBezTo>
                    <a:pt x="84759" y="29061"/>
                    <a:pt x="82993" y="29061"/>
                    <a:pt x="81258" y="29290"/>
                  </a:cubicBezTo>
                  <a:cubicBezTo>
                    <a:pt x="60935" y="27294"/>
                    <a:pt x="42838" y="42151"/>
                    <a:pt x="40843" y="62507"/>
                  </a:cubicBezTo>
                  <a:cubicBezTo>
                    <a:pt x="40744" y="63521"/>
                    <a:pt x="40679" y="64568"/>
                    <a:pt x="40679" y="65616"/>
                  </a:cubicBezTo>
                  <a:lnTo>
                    <a:pt x="32170" y="136303"/>
                  </a:lnTo>
                  <a:cubicBezTo>
                    <a:pt x="30501" y="145171"/>
                    <a:pt x="22876" y="151715"/>
                    <a:pt x="13844" y="152010"/>
                  </a:cubicBezTo>
                  <a:cubicBezTo>
                    <a:pt x="6022" y="151846"/>
                    <a:pt x="-228" y="145433"/>
                    <a:pt x="-228" y="137611"/>
                  </a:cubicBezTo>
                  <a:lnTo>
                    <a:pt x="-228" y="135975"/>
                  </a:lnTo>
                  <a:lnTo>
                    <a:pt x="14498" y="15873"/>
                  </a:lnTo>
                  <a:cubicBezTo>
                    <a:pt x="15643" y="6775"/>
                    <a:pt x="23334" y="-65"/>
                    <a:pt x="32497" y="-162"/>
                  </a:cubicBezTo>
                  <a:cubicBezTo>
                    <a:pt x="40090" y="-522"/>
                    <a:pt x="46504" y="5335"/>
                    <a:pt x="46864" y="12927"/>
                  </a:cubicBezTo>
                  <a:cubicBezTo>
                    <a:pt x="46897" y="13124"/>
                    <a:pt x="46897" y="13353"/>
                    <a:pt x="46897" y="13583"/>
                  </a:cubicBezTo>
                  <a:cubicBezTo>
                    <a:pt x="47060" y="15447"/>
                    <a:pt x="47060" y="17280"/>
                    <a:pt x="46897" y="19145"/>
                  </a:cubicBezTo>
                  <a:cubicBezTo>
                    <a:pt x="60609" y="6514"/>
                    <a:pt x="78640" y="-391"/>
                    <a:pt x="97293" y="-162"/>
                  </a:cubicBezTo>
                  <a:cubicBezTo>
                    <a:pt x="113165" y="-1733"/>
                    <a:pt x="128318" y="6743"/>
                    <a:pt x="135254" y="21109"/>
                  </a:cubicBezTo>
                  <a:cubicBezTo>
                    <a:pt x="149163" y="7103"/>
                    <a:pt x="168210" y="-588"/>
                    <a:pt x="187943" y="-162"/>
                  </a:cubicBezTo>
                  <a:cubicBezTo>
                    <a:pt x="215760" y="-162"/>
                    <a:pt x="234086" y="12927"/>
                    <a:pt x="234086" y="41726"/>
                  </a:cubicBezTo>
                  <a:cubicBezTo>
                    <a:pt x="234151" y="44901"/>
                    <a:pt x="234020" y="48075"/>
                    <a:pt x="233758" y="51217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3" name="Frihandsfigur: Form 62">
              <a:extLst>
                <a:ext uri="{FF2B5EF4-FFF2-40B4-BE49-F238E27FC236}">
                  <a16:creationId xmlns:a16="http://schemas.microsoft.com/office/drawing/2014/main" id="{CEF49298-9BA7-4B54-970C-B669B1BE289C}"/>
                </a:ext>
              </a:extLst>
            </p:cNvPr>
            <p:cNvSpPr/>
            <p:nvPr/>
          </p:nvSpPr>
          <p:spPr>
            <a:xfrm>
              <a:off x="4809663" y="4575428"/>
              <a:ext cx="140391" cy="152132"/>
            </a:xfrm>
            <a:custGeom>
              <a:avLst/>
              <a:gdLst>
                <a:gd name="connsiteX0" fmla="*/ 140164 w 140391"/>
                <a:gd name="connsiteY0" fmla="*/ 46475 h 152132"/>
                <a:gd name="connsiteX1" fmla="*/ 129038 w 140391"/>
                <a:gd name="connsiteY1" fmla="*/ 135488 h 152132"/>
                <a:gd name="connsiteX2" fmla="*/ 111038 w 140391"/>
                <a:gd name="connsiteY2" fmla="*/ 151523 h 152132"/>
                <a:gd name="connsiteX3" fmla="*/ 96966 w 140391"/>
                <a:gd name="connsiteY3" fmla="*/ 138105 h 152132"/>
                <a:gd name="connsiteX4" fmla="*/ 96966 w 140391"/>
                <a:gd name="connsiteY4" fmla="*/ 137451 h 152132"/>
                <a:gd name="connsiteX5" fmla="*/ 96966 w 140391"/>
                <a:gd name="connsiteY5" fmla="*/ 135160 h 152132"/>
                <a:gd name="connsiteX6" fmla="*/ 45915 w 140391"/>
                <a:gd name="connsiteY6" fmla="*/ 151523 h 152132"/>
                <a:gd name="connsiteX7" fmla="*/ 1 w 140391"/>
                <a:gd name="connsiteY7" fmla="*/ 114837 h 152132"/>
                <a:gd name="connsiteX8" fmla="*/ -228 w 140391"/>
                <a:gd name="connsiteY8" fmla="*/ 111598 h 152132"/>
                <a:gd name="connsiteX9" fmla="*/ 79294 w 140391"/>
                <a:gd name="connsiteY9" fmla="*/ 52693 h 152132"/>
                <a:gd name="connsiteX10" fmla="*/ 106784 w 140391"/>
                <a:gd name="connsiteY10" fmla="*/ 54656 h 152132"/>
                <a:gd name="connsiteX11" fmla="*/ 106784 w 140391"/>
                <a:gd name="connsiteY11" fmla="*/ 47456 h 152132"/>
                <a:gd name="connsiteX12" fmla="*/ 74058 w 140391"/>
                <a:gd name="connsiteY12" fmla="*/ 26512 h 152132"/>
                <a:gd name="connsiteX13" fmla="*/ 39697 w 140391"/>
                <a:gd name="connsiteY13" fmla="*/ 35348 h 152132"/>
                <a:gd name="connsiteX14" fmla="*/ 33479 w 140391"/>
                <a:gd name="connsiteY14" fmla="*/ 37312 h 152132"/>
                <a:gd name="connsiteX15" fmla="*/ 20717 w 140391"/>
                <a:gd name="connsiteY15" fmla="*/ 24548 h 152132"/>
                <a:gd name="connsiteX16" fmla="*/ 30534 w 140391"/>
                <a:gd name="connsiteY16" fmla="*/ 9495 h 152132"/>
                <a:gd name="connsiteX17" fmla="*/ 84858 w 140391"/>
                <a:gd name="connsiteY17" fmla="*/ -322 h 152132"/>
                <a:gd name="connsiteX18" fmla="*/ 139182 w 140391"/>
                <a:gd name="connsiteY18" fmla="*/ 39275 h 152132"/>
                <a:gd name="connsiteX19" fmla="*/ 140164 w 140391"/>
                <a:gd name="connsiteY19" fmla="*/ 46475 h 152132"/>
                <a:gd name="connsiteX20" fmla="*/ 81913 w 140391"/>
                <a:gd name="connsiteY20" fmla="*/ 75927 h 152132"/>
                <a:gd name="connsiteX21" fmla="*/ 33479 w 140391"/>
                <a:gd name="connsiteY21" fmla="*/ 104072 h 152132"/>
                <a:gd name="connsiteX22" fmla="*/ 57369 w 140391"/>
                <a:gd name="connsiteY22" fmla="*/ 123379 h 152132"/>
                <a:gd name="connsiteX23" fmla="*/ 100239 w 140391"/>
                <a:gd name="connsiteY23" fmla="*/ 110944 h 152132"/>
                <a:gd name="connsiteX24" fmla="*/ 103838 w 140391"/>
                <a:gd name="connsiteY24" fmla="*/ 78218 h 152132"/>
                <a:gd name="connsiteX25" fmla="*/ 81913 w 140391"/>
                <a:gd name="connsiteY25" fmla="*/ 75927 h 15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391" h="152132">
                  <a:moveTo>
                    <a:pt x="140164" y="46475"/>
                  </a:moveTo>
                  <a:lnTo>
                    <a:pt x="129038" y="135488"/>
                  </a:lnTo>
                  <a:cubicBezTo>
                    <a:pt x="127892" y="144585"/>
                    <a:pt x="120201" y="151425"/>
                    <a:pt x="111038" y="151523"/>
                  </a:cubicBezTo>
                  <a:cubicBezTo>
                    <a:pt x="103446" y="151719"/>
                    <a:pt x="97163" y="145698"/>
                    <a:pt x="96966" y="138105"/>
                  </a:cubicBezTo>
                  <a:cubicBezTo>
                    <a:pt x="96966" y="137876"/>
                    <a:pt x="96966" y="137680"/>
                    <a:pt x="96966" y="137451"/>
                  </a:cubicBezTo>
                  <a:lnTo>
                    <a:pt x="96966" y="135160"/>
                  </a:lnTo>
                  <a:cubicBezTo>
                    <a:pt x="81651" y="144945"/>
                    <a:pt x="64077" y="150607"/>
                    <a:pt x="45915" y="151523"/>
                  </a:cubicBezTo>
                  <a:cubicBezTo>
                    <a:pt x="23106" y="154075"/>
                    <a:pt x="2553" y="137648"/>
                    <a:pt x="1" y="114837"/>
                  </a:cubicBezTo>
                  <a:cubicBezTo>
                    <a:pt x="-130" y="113758"/>
                    <a:pt x="-195" y="112678"/>
                    <a:pt x="-228" y="111598"/>
                  </a:cubicBezTo>
                  <a:cubicBezTo>
                    <a:pt x="-228" y="71019"/>
                    <a:pt x="44606" y="52693"/>
                    <a:pt x="79294" y="52693"/>
                  </a:cubicBezTo>
                  <a:cubicBezTo>
                    <a:pt x="88490" y="52693"/>
                    <a:pt x="97686" y="53347"/>
                    <a:pt x="106784" y="54656"/>
                  </a:cubicBezTo>
                  <a:cubicBezTo>
                    <a:pt x="106947" y="52267"/>
                    <a:pt x="106947" y="49845"/>
                    <a:pt x="106784" y="47456"/>
                  </a:cubicBezTo>
                  <a:cubicBezTo>
                    <a:pt x="106784" y="28803"/>
                    <a:pt x="89767" y="26512"/>
                    <a:pt x="74058" y="26512"/>
                  </a:cubicBezTo>
                  <a:cubicBezTo>
                    <a:pt x="62049" y="26611"/>
                    <a:pt x="50267" y="29654"/>
                    <a:pt x="39697" y="35348"/>
                  </a:cubicBezTo>
                  <a:cubicBezTo>
                    <a:pt x="37831" y="36559"/>
                    <a:pt x="35704" y="37214"/>
                    <a:pt x="33479" y="37312"/>
                  </a:cubicBezTo>
                  <a:cubicBezTo>
                    <a:pt x="26443" y="37312"/>
                    <a:pt x="20717" y="31585"/>
                    <a:pt x="20717" y="24548"/>
                  </a:cubicBezTo>
                  <a:cubicBezTo>
                    <a:pt x="20782" y="18037"/>
                    <a:pt x="24611" y="12178"/>
                    <a:pt x="30534" y="9495"/>
                  </a:cubicBezTo>
                  <a:cubicBezTo>
                    <a:pt x="47813" y="2656"/>
                    <a:pt x="66270" y="-683"/>
                    <a:pt x="84858" y="-322"/>
                  </a:cubicBezTo>
                  <a:cubicBezTo>
                    <a:pt x="111366" y="-322"/>
                    <a:pt x="139182" y="7531"/>
                    <a:pt x="139182" y="39275"/>
                  </a:cubicBezTo>
                  <a:cubicBezTo>
                    <a:pt x="139673" y="41664"/>
                    <a:pt x="140000" y="44053"/>
                    <a:pt x="140164" y="46475"/>
                  </a:cubicBezTo>
                  <a:close/>
                  <a:moveTo>
                    <a:pt x="81913" y="75927"/>
                  </a:moveTo>
                  <a:cubicBezTo>
                    <a:pt x="64895" y="75927"/>
                    <a:pt x="33479" y="81491"/>
                    <a:pt x="33479" y="104072"/>
                  </a:cubicBezTo>
                  <a:cubicBezTo>
                    <a:pt x="33479" y="117816"/>
                    <a:pt x="45261" y="123379"/>
                    <a:pt x="57369" y="123379"/>
                  </a:cubicBezTo>
                  <a:cubicBezTo>
                    <a:pt x="72520" y="123118"/>
                    <a:pt x="87313" y="118830"/>
                    <a:pt x="100239" y="110944"/>
                  </a:cubicBezTo>
                  <a:lnTo>
                    <a:pt x="103838" y="78218"/>
                  </a:lnTo>
                  <a:cubicBezTo>
                    <a:pt x="96639" y="76647"/>
                    <a:pt x="89276" y="75862"/>
                    <a:pt x="81913" y="75927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4" name="Frihandsfigur: Form 63">
              <a:extLst>
                <a:ext uri="{FF2B5EF4-FFF2-40B4-BE49-F238E27FC236}">
                  <a16:creationId xmlns:a16="http://schemas.microsoft.com/office/drawing/2014/main" id="{D637AA7A-75D7-49FC-BF3C-36F5F3C21985}"/>
                </a:ext>
              </a:extLst>
            </p:cNvPr>
            <p:cNvSpPr/>
            <p:nvPr/>
          </p:nvSpPr>
          <p:spPr>
            <a:xfrm>
              <a:off x="3149462" y="4825475"/>
              <a:ext cx="164031" cy="242167"/>
            </a:xfrm>
            <a:custGeom>
              <a:avLst/>
              <a:gdLst>
                <a:gd name="connsiteX0" fmla="*/ 148717 w 164031"/>
                <a:gd name="connsiteY0" fmla="*/ 28122 h 242167"/>
                <a:gd name="connsiteX1" fmla="*/ 58395 w 164031"/>
                <a:gd name="connsiteY1" fmla="*/ 28122 h 242167"/>
                <a:gd name="connsiteX2" fmla="*/ 49559 w 164031"/>
                <a:gd name="connsiteY2" fmla="*/ 102409 h 242167"/>
                <a:gd name="connsiteX3" fmla="*/ 135954 w 164031"/>
                <a:gd name="connsiteY3" fmla="*/ 102409 h 242167"/>
                <a:gd name="connsiteX4" fmla="*/ 148717 w 164031"/>
                <a:gd name="connsiteY4" fmla="*/ 114517 h 242167"/>
                <a:gd name="connsiteX5" fmla="*/ 148717 w 164031"/>
                <a:gd name="connsiteY5" fmla="*/ 114845 h 242167"/>
                <a:gd name="connsiteX6" fmla="*/ 131700 w 164031"/>
                <a:gd name="connsiteY6" fmla="*/ 132189 h 242167"/>
                <a:gd name="connsiteX7" fmla="*/ 45959 w 164031"/>
                <a:gd name="connsiteY7" fmla="*/ 132189 h 242167"/>
                <a:gd name="connsiteX8" fmla="*/ 35814 w 164031"/>
                <a:gd name="connsiteY8" fmla="*/ 212039 h 242167"/>
                <a:gd name="connsiteX9" fmla="*/ 133990 w 164031"/>
                <a:gd name="connsiteY9" fmla="*/ 212039 h 242167"/>
                <a:gd name="connsiteX10" fmla="*/ 147080 w 164031"/>
                <a:gd name="connsiteY10" fmla="*/ 224474 h 242167"/>
                <a:gd name="connsiteX11" fmla="*/ 147080 w 164031"/>
                <a:gd name="connsiteY11" fmla="*/ 224802 h 242167"/>
                <a:gd name="connsiteX12" fmla="*/ 130063 w 164031"/>
                <a:gd name="connsiteY12" fmla="*/ 241818 h 242167"/>
                <a:gd name="connsiteX13" fmla="*/ 14215 w 164031"/>
                <a:gd name="connsiteY13" fmla="*/ 241818 h 242167"/>
                <a:gd name="connsiteX14" fmla="*/ -216 w 164031"/>
                <a:gd name="connsiteY14" fmla="*/ 226144 h 242167"/>
                <a:gd name="connsiteX15" fmla="*/ -184 w 164031"/>
                <a:gd name="connsiteY15" fmla="*/ 225783 h 242167"/>
                <a:gd name="connsiteX16" fmla="*/ -184 w 164031"/>
                <a:gd name="connsiteY16" fmla="*/ 225783 h 242167"/>
                <a:gd name="connsiteX17" fmla="*/ 25343 w 164031"/>
                <a:gd name="connsiteY17" fmla="*/ 18305 h 242167"/>
                <a:gd name="connsiteX18" fmla="*/ 45305 w 164031"/>
                <a:gd name="connsiteY18" fmla="*/ -349 h 242167"/>
                <a:gd name="connsiteX19" fmla="*/ 151662 w 164031"/>
                <a:gd name="connsiteY19" fmla="*/ -349 h 242167"/>
                <a:gd name="connsiteX20" fmla="*/ 163803 w 164031"/>
                <a:gd name="connsiteY20" fmla="*/ 11728 h 242167"/>
                <a:gd name="connsiteX21" fmla="*/ 163770 w 164031"/>
                <a:gd name="connsiteY21" fmla="*/ 12415 h 242167"/>
                <a:gd name="connsiteX22" fmla="*/ 148717 w 164031"/>
                <a:gd name="connsiteY22" fmla="*/ 28122 h 242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4031" h="242167">
                  <a:moveTo>
                    <a:pt x="148717" y="28122"/>
                  </a:moveTo>
                  <a:lnTo>
                    <a:pt x="58395" y="28122"/>
                  </a:lnTo>
                  <a:lnTo>
                    <a:pt x="49559" y="102409"/>
                  </a:lnTo>
                  <a:lnTo>
                    <a:pt x="135954" y="102409"/>
                  </a:lnTo>
                  <a:cubicBezTo>
                    <a:pt x="142827" y="102213"/>
                    <a:pt x="148520" y="107645"/>
                    <a:pt x="148717" y="114517"/>
                  </a:cubicBezTo>
                  <a:cubicBezTo>
                    <a:pt x="148717" y="114615"/>
                    <a:pt x="148717" y="114746"/>
                    <a:pt x="148717" y="114845"/>
                  </a:cubicBezTo>
                  <a:cubicBezTo>
                    <a:pt x="148258" y="124106"/>
                    <a:pt x="140928" y="131534"/>
                    <a:pt x="131700" y="132189"/>
                  </a:cubicBezTo>
                  <a:lnTo>
                    <a:pt x="45959" y="132189"/>
                  </a:lnTo>
                  <a:lnTo>
                    <a:pt x="35814" y="212039"/>
                  </a:lnTo>
                  <a:lnTo>
                    <a:pt x="133990" y="212039"/>
                  </a:lnTo>
                  <a:cubicBezTo>
                    <a:pt x="141026" y="211843"/>
                    <a:pt x="146884" y="217438"/>
                    <a:pt x="147080" y="224474"/>
                  </a:cubicBezTo>
                  <a:cubicBezTo>
                    <a:pt x="147080" y="224573"/>
                    <a:pt x="147080" y="224704"/>
                    <a:pt x="147080" y="224802"/>
                  </a:cubicBezTo>
                  <a:cubicBezTo>
                    <a:pt x="146590" y="233998"/>
                    <a:pt x="139259" y="241328"/>
                    <a:pt x="130063" y="241818"/>
                  </a:cubicBezTo>
                  <a:lnTo>
                    <a:pt x="14215" y="241818"/>
                  </a:lnTo>
                  <a:cubicBezTo>
                    <a:pt x="5903" y="241459"/>
                    <a:pt x="-544" y="234456"/>
                    <a:pt x="-216" y="226144"/>
                  </a:cubicBezTo>
                  <a:cubicBezTo>
                    <a:pt x="-184" y="226045"/>
                    <a:pt x="-184" y="225914"/>
                    <a:pt x="-184" y="225783"/>
                  </a:cubicBezTo>
                  <a:lnTo>
                    <a:pt x="-184" y="225783"/>
                  </a:lnTo>
                  <a:lnTo>
                    <a:pt x="25343" y="18305"/>
                  </a:lnTo>
                  <a:cubicBezTo>
                    <a:pt x="26848" y="8193"/>
                    <a:pt x="35127" y="469"/>
                    <a:pt x="45305" y="-349"/>
                  </a:cubicBezTo>
                  <a:lnTo>
                    <a:pt x="151662" y="-349"/>
                  </a:lnTo>
                  <a:cubicBezTo>
                    <a:pt x="158338" y="-349"/>
                    <a:pt x="163770" y="5051"/>
                    <a:pt x="163803" y="11728"/>
                  </a:cubicBezTo>
                  <a:cubicBezTo>
                    <a:pt x="163803" y="11956"/>
                    <a:pt x="163770" y="12185"/>
                    <a:pt x="163770" y="12415"/>
                  </a:cubicBezTo>
                  <a:cubicBezTo>
                    <a:pt x="163181" y="20596"/>
                    <a:pt x="156865" y="27206"/>
                    <a:pt x="148717" y="28122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5" name="Frihandsfigur: Form 64">
              <a:extLst>
                <a:ext uri="{FF2B5EF4-FFF2-40B4-BE49-F238E27FC236}">
                  <a16:creationId xmlns:a16="http://schemas.microsoft.com/office/drawing/2014/main" id="{51CD3F78-D2A7-481D-8904-369564284FD4}"/>
                </a:ext>
              </a:extLst>
            </p:cNvPr>
            <p:cNvSpPr/>
            <p:nvPr/>
          </p:nvSpPr>
          <p:spPr>
            <a:xfrm>
              <a:off x="3320333" y="4922982"/>
              <a:ext cx="141701" cy="150551"/>
            </a:xfrm>
            <a:custGeom>
              <a:avLst/>
              <a:gdLst>
                <a:gd name="connsiteX0" fmla="*/ 141146 w 141701"/>
                <a:gd name="connsiteY0" fmla="*/ 47773 h 150551"/>
                <a:gd name="connsiteX1" fmla="*/ 130673 w 141701"/>
                <a:gd name="connsiteY1" fmla="*/ 132531 h 150551"/>
                <a:gd name="connsiteX2" fmla="*/ 113002 w 141701"/>
                <a:gd name="connsiteY2" fmla="*/ 148566 h 150551"/>
                <a:gd name="connsiteX3" fmla="*/ 98276 w 141701"/>
                <a:gd name="connsiteY3" fmla="*/ 135182 h 150551"/>
                <a:gd name="connsiteX4" fmla="*/ 98276 w 141701"/>
                <a:gd name="connsiteY4" fmla="*/ 134167 h 150551"/>
                <a:gd name="connsiteX5" fmla="*/ 98276 w 141701"/>
                <a:gd name="connsiteY5" fmla="*/ 134167 h 150551"/>
                <a:gd name="connsiteX6" fmla="*/ 107766 w 141701"/>
                <a:gd name="connsiteY6" fmla="*/ 58572 h 150551"/>
                <a:gd name="connsiteX7" fmla="*/ 107766 w 141701"/>
                <a:gd name="connsiteY7" fmla="*/ 52027 h 150551"/>
                <a:gd name="connsiteX8" fmla="*/ 86757 w 141701"/>
                <a:gd name="connsiteY8" fmla="*/ 27352 h 150551"/>
                <a:gd name="connsiteX9" fmla="*/ 81913 w 141701"/>
                <a:gd name="connsiteY9" fmla="*/ 27483 h 150551"/>
                <a:gd name="connsiteX10" fmla="*/ 41334 w 141701"/>
                <a:gd name="connsiteY10" fmla="*/ 61844 h 150551"/>
                <a:gd name="connsiteX11" fmla="*/ 32171 w 141701"/>
                <a:gd name="connsiteY11" fmla="*/ 134495 h 150551"/>
                <a:gd name="connsiteX12" fmla="*/ 14171 w 141701"/>
                <a:gd name="connsiteY12" fmla="*/ 150203 h 150551"/>
                <a:gd name="connsiteX13" fmla="*/ -228 w 141701"/>
                <a:gd name="connsiteY13" fmla="*/ 136130 h 150551"/>
                <a:gd name="connsiteX14" fmla="*/ -228 w 141701"/>
                <a:gd name="connsiteY14" fmla="*/ 136130 h 150551"/>
                <a:gd name="connsiteX15" fmla="*/ 14826 w 141701"/>
                <a:gd name="connsiteY15" fmla="*/ 15702 h 150551"/>
                <a:gd name="connsiteX16" fmla="*/ 32497 w 141701"/>
                <a:gd name="connsiteY16" fmla="*/ -334 h 150551"/>
                <a:gd name="connsiteX17" fmla="*/ 47552 w 141701"/>
                <a:gd name="connsiteY17" fmla="*/ 13379 h 150551"/>
                <a:gd name="connsiteX18" fmla="*/ 47552 w 141701"/>
                <a:gd name="connsiteY18" fmla="*/ 13410 h 150551"/>
                <a:gd name="connsiteX19" fmla="*/ 47552 w 141701"/>
                <a:gd name="connsiteY19" fmla="*/ 18974 h 150551"/>
                <a:gd name="connsiteX20" fmla="*/ 95985 w 141701"/>
                <a:gd name="connsiteY20" fmla="*/ -334 h 150551"/>
                <a:gd name="connsiteX21" fmla="*/ 141473 w 141701"/>
                <a:gd name="connsiteY21" fmla="*/ 41227 h 150551"/>
                <a:gd name="connsiteX22" fmla="*/ 141146 w 141701"/>
                <a:gd name="connsiteY22" fmla="*/ 47773 h 150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701" h="150551">
                  <a:moveTo>
                    <a:pt x="141146" y="47773"/>
                  </a:moveTo>
                  <a:lnTo>
                    <a:pt x="130673" y="132531"/>
                  </a:lnTo>
                  <a:cubicBezTo>
                    <a:pt x="129430" y="141433"/>
                    <a:pt x="122002" y="148174"/>
                    <a:pt x="113002" y="148566"/>
                  </a:cubicBezTo>
                  <a:cubicBezTo>
                    <a:pt x="105247" y="148927"/>
                    <a:pt x="98636" y="142938"/>
                    <a:pt x="98276" y="135182"/>
                  </a:cubicBezTo>
                  <a:cubicBezTo>
                    <a:pt x="98276" y="134822"/>
                    <a:pt x="98276" y="134495"/>
                    <a:pt x="98276" y="134167"/>
                  </a:cubicBezTo>
                  <a:lnTo>
                    <a:pt x="98276" y="134167"/>
                  </a:lnTo>
                  <a:lnTo>
                    <a:pt x="107766" y="58572"/>
                  </a:lnTo>
                  <a:cubicBezTo>
                    <a:pt x="107962" y="56379"/>
                    <a:pt x="107962" y="54219"/>
                    <a:pt x="107766" y="52027"/>
                  </a:cubicBezTo>
                  <a:cubicBezTo>
                    <a:pt x="108781" y="39428"/>
                    <a:pt x="99388" y="28366"/>
                    <a:pt x="86757" y="27352"/>
                  </a:cubicBezTo>
                  <a:cubicBezTo>
                    <a:pt x="85153" y="27221"/>
                    <a:pt x="83517" y="27253"/>
                    <a:pt x="81913" y="27483"/>
                  </a:cubicBezTo>
                  <a:cubicBezTo>
                    <a:pt x="61231" y="25781"/>
                    <a:pt x="43069" y="41162"/>
                    <a:pt x="41334" y="61844"/>
                  </a:cubicBezTo>
                  <a:lnTo>
                    <a:pt x="32171" y="134495"/>
                  </a:lnTo>
                  <a:cubicBezTo>
                    <a:pt x="30633" y="143330"/>
                    <a:pt x="23139" y="149876"/>
                    <a:pt x="14171" y="150203"/>
                  </a:cubicBezTo>
                  <a:cubicBezTo>
                    <a:pt x="6351" y="150203"/>
                    <a:pt x="-64" y="143952"/>
                    <a:pt x="-228" y="136130"/>
                  </a:cubicBezTo>
                  <a:lnTo>
                    <a:pt x="-228" y="136130"/>
                  </a:lnTo>
                  <a:lnTo>
                    <a:pt x="14826" y="15702"/>
                  </a:lnTo>
                  <a:cubicBezTo>
                    <a:pt x="16070" y="6800"/>
                    <a:pt x="23498" y="59"/>
                    <a:pt x="32497" y="-334"/>
                  </a:cubicBezTo>
                  <a:cubicBezTo>
                    <a:pt x="40450" y="-694"/>
                    <a:pt x="47191" y="5426"/>
                    <a:pt x="47552" y="13379"/>
                  </a:cubicBezTo>
                  <a:cubicBezTo>
                    <a:pt x="47552" y="13379"/>
                    <a:pt x="47552" y="13410"/>
                    <a:pt x="47552" y="13410"/>
                  </a:cubicBezTo>
                  <a:cubicBezTo>
                    <a:pt x="47683" y="15276"/>
                    <a:pt x="47683" y="17109"/>
                    <a:pt x="47552" y="18974"/>
                  </a:cubicBezTo>
                  <a:cubicBezTo>
                    <a:pt x="60642" y="6571"/>
                    <a:pt x="77953" y="-334"/>
                    <a:pt x="95985" y="-334"/>
                  </a:cubicBezTo>
                  <a:cubicBezTo>
                    <a:pt x="122820" y="-334"/>
                    <a:pt x="141473" y="12756"/>
                    <a:pt x="141473" y="41227"/>
                  </a:cubicBezTo>
                  <a:cubicBezTo>
                    <a:pt x="141473" y="41227"/>
                    <a:pt x="141473" y="44500"/>
                    <a:pt x="141146" y="4777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6" name="Frihandsfigur: Form 65">
              <a:extLst>
                <a:ext uri="{FF2B5EF4-FFF2-40B4-BE49-F238E27FC236}">
                  <a16:creationId xmlns:a16="http://schemas.microsoft.com/office/drawing/2014/main" id="{E58C7540-7F2A-41EB-9E25-34E7D2177A1D}"/>
                </a:ext>
              </a:extLst>
            </p:cNvPr>
            <p:cNvSpPr/>
            <p:nvPr/>
          </p:nvSpPr>
          <p:spPr>
            <a:xfrm>
              <a:off x="3476760" y="4919944"/>
              <a:ext cx="155445" cy="215144"/>
            </a:xfrm>
            <a:custGeom>
              <a:avLst/>
              <a:gdLst>
                <a:gd name="connsiteX0" fmla="*/ 140492 w 155445"/>
                <a:gd name="connsiteY0" fmla="*/ 136550 h 215144"/>
                <a:gd name="connsiteX1" fmla="*/ 62965 w 155445"/>
                <a:gd name="connsiteY1" fmla="*/ 214796 h 215144"/>
                <a:gd name="connsiteX2" fmla="*/ 60314 w 155445"/>
                <a:gd name="connsiteY2" fmla="*/ 214764 h 215144"/>
                <a:gd name="connsiteX3" fmla="*/ -228 w 155445"/>
                <a:gd name="connsiteY3" fmla="*/ 189893 h 215144"/>
                <a:gd name="connsiteX4" fmla="*/ 17117 w 155445"/>
                <a:gd name="connsiteY4" fmla="*/ 172548 h 215144"/>
                <a:gd name="connsiteX5" fmla="*/ 24316 w 155445"/>
                <a:gd name="connsiteY5" fmla="*/ 174512 h 215144"/>
                <a:gd name="connsiteX6" fmla="*/ 60969 w 155445"/>
                <a:gd name="connsiteY6" fmla="*/ 186292 h 215144"/>
                <a:gd name="connsiteX7" fmla="*/ 106457 w 155445"/>
                <a:gd name="connsiteY7" fmla="*/ 146695 h 215144"/>
                <a:gd name="connsiteX8" fmla="*/ 108420 w 155445"/>
                <a:gd name="connsiteY8" fmla="*/ 134914 h 215144"/>
                <a:gd name="connsiteX9" fmla="*/ 59660 w 155445"/>
                <a:gd name="connsiteY9" fmla="*/ 150622 h 215144"/>
                <a:gd name="connsiteX10" fmla="*/ 4256 w 155445"/>
                <a:gd name="connsiteY10" fmla="*/ 90899 h 215144"/>
                <a:gd name="connsiteX11" fmla="*/ 4354 w 155445"/>
                <a:gd name="connsiteY11" fmla="*/ 89098 h 215144"/>
                <a:gd name="connsiteX12" fmla="*/ 81585 w 155445"/>
                <a:gd name="connsiteY12" fmla="*/ 85 h 215144"/>
                <a:gd name="connsiteX13" fmla="*/ 122820 w 155445"/>
                <a:gd name="connsiteY13" fmla="*/ 16448 h 215144"/>
                <a:gd name="connsiteX14" fmla="*/ 140819 w 155445"/>
                <a:gd name="connsiteY14" fmla="*/ 85 h 215144"/>
                <a:gd name="connsiteX15" fmla="*/ 155217 w 155445"/>
                <a:gd name="connsiteY15" fmla="*/ 14158 h 215144"/>
                <a:gd name="connsiteX16" fmla="*/ 82568 w 155445"/>
                <a:gd name="connsiteY16" fmla="*/ 29211 h 215144"/>
                <a:gd name="connsiteX17" fmla="*/ 36392 w 155445"/>
                <a:gd name="connsiteY17" fmla="*/ 83502 h 215144"/>
                <a:gd name="connsiteX18" fmla="*/ 36425 w 155445"/>
                <a:gd name="connsiteY18" fmla="*/ 83863 h 215144"/>
                <a:gd name="connsiteX19" fmla="*/ 68267 w 155445"/>
                <a:gd name="connsiteY19" fmla="*/ 122413 h 215144"/>
                <a:gd name="connsiteX20" fmla="*/ 69151 w 155445"/>
                <a:gd name="connsiteY20" fmla="*/ 122478 h 215144"/>
                <a:gd name="connsiteX21" fmla="*/ 115948 w 155445"/>
                <a:gd name="connsiteY21" fmla="*/ 66517 h 215144"/>
                <a:gd name="connsiteX22" fmla="*/ 87411 w 155445"/>
                <a:gd name="connsiteY22" fmla="*/ 30095 h 215144"/>
                <a:gd name="connsiteX23" fmla="*/ 82568 w 155445"/>
                <a:gd name="connsiteY23" fmla="*/ 29865 h 21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445" h="215144">
                  <a:moveTo>
                    <a:pt x="140492" y="136550"/>
                  </a:moveTo>
                  <a:cubicBezTo>
                    <a:pt x="140687" y="179551"/>
                    <a:pt x="105967" y="214600"/>
                    <a:pt x="62965" y="214796"/>
                  </a:cubicBezTo>
                  <a:cubicBezTo>
                    <a:pt x="62082" y="214796"/>
                    <a:pt x="61198" y="214796"/>
                    <a:pt x="60314" y="214764"/>
                  </a:cubicBezTo>
                  <a:cubicBezTo>
                    <a:pt x="45915" y="214764"/>
                    <a:pt x="-228" y="208546"/>
                    <a:pt x="-228" y="189893"/>
                  </a:cubicBezTo>
                  <a:cubicBezTo>
                    <a:pt x="100" y="180468"/>
                    <a:pt x="7692" y="172875"/>
                    <a:pt x="17117" y="172548"/>
                  </a:cubicBezTo>
                  <a:cubicBezTo>
                    <a:pt x="19637" y="172646"/>
                    <a:pt x="22091" y="173333"/>
                    <a:pt x="24316" y="174512"/>
                  </a:cubicBezTo>
                  <a:cubicBezTo>
                    <a:pt x="35280" y="181613"/>
                    <a:pt x="47911" y="185671"/>
                    <a:pt x="60969" y="186292"/>
                  </a:cubicBezTo>
                  <a:cubicBezTo>
                    <a:pt x="83746" y="185933"/>
                    <a:pt x="102956" y="169210"/>
                    <a:pt x="106457" y="146695"/>
                  </a:cubicBezTo>
                  <a:cubicBezTo>
                    <a:pt x="106457" y="141459"/>
                    <a:pt x="108420" y="134914"/>
                    <a:pt x="108420" y="134914"/>
                  </a:cubicBezTo>
                  <a:cubicBezTo>
                    <a:pt x="94447" y="145582"/>
                    <a:pt x="77233" y="151113"/>
                    <a:pt x="59660" y="150622"/>
                  </a:cubicBezTo>
                  <a:cubicBezTo>
                    <a:pt x="27883" y="149444"/>
                    <a:pt x="3078" y="122707"/>
                    <a:pt x="4256" y="90899"/>
                  </a:cubicBezTo>
                  <a:cubicBezTo>
                    <a:pt x="4288" y="90309"/>
                    <a:pt x="4321" y="89687"/>
                    <a:pt x="4354" y="89098"/>
                  </a:cubicBezTo>
                  <a:cubicBezTo>
                    <a:pt x="2554" y="43708"/>
                    <a:pt x="36392" y="4700"/>
                    <a:pt x="81585" y="85"/>
                  </a:cubicBezTo>
                  <a:cubicBezTo>
                    <a:pt x="97261" y="-2107"/>
                    <a:pt x="112937" y="4111"/>
                    <a:pt x="122820" y="16448"/>
                  </a:cubicBezTo>
                  <a:cubicBezTo>
                    <a:pt x="124063" y="7351"/>
                    <a:pt x="131656" y="479"/>
                    <a:pt x="140819" y="85"/>
                  </a:cubicBezTo>
                  <a:cubicBezTo>
                    <a:pt x="148640" y="85"/>
                    <a:pt x="155055" y="6336"/>
                    <a:pt x="155217" y="14158"/>
                  </a:cubicBezTo>
                  <a:close/>
                  <a:moveTo>
                    <a:pt x="82568" y="29211"/>
                  </a:moveTo>
                  <a:cubicBezTo>
                    <a:pt x="54816" y="31469"/>
                    <a:pt x="34167" y="55751"/>
                    <a:pt x="36392" y="83502"/>
                  </a:cubicBezTo>
                  <a:cubicBezTo>
                    <a:pt x="36392" y="83633"/>
                    <a:pt x="36425" y="83731"/>
                    <a:pt x="36425" y="83863"/>
                  </a:cubicBezTo>
                  <a:cubicBezTo>
                    <a:pt x="34560" y="103301"/>
                    <a:pt x="48828" y="120547"/>
                    <a:pt x="68267" y="122413"/>
                  </a:cubicBezTo>
                  <a:cubicBezTo>
                    <a:pt x="68561" y="122445"/>
                    <a:pt x="68856" y="122445"/>
                    <a:pt x="69151" y="122478"/>
                  </a:cubicBezTo>
                  <a:cubicBezTo>
                    <a:pt x="101876" y="122478"/>
                    <a:pt x="115948" y="95643"/>
                    <a:pt x="115948" y="66517"/>
                  </a:cubicBezTo>
                  <a:cubicBezTo>
                    <a:pt x="118108" y="48585"/>
                    <a:pt x="105344" y="32254"/>
                    <a:pt x="87411" y="30095"/>
                  </a:cubicBezTo>
                  <a:cubicBezTo>
                    <a:pt x="85808" y="29898"/>
                    <a:pt x="84171" y="29833"/>
                    <a:pt x="82568" y="2986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7" name="Frihandsfigur: Form 66">
              <a:extLst>
                <a:ext uri="{FF2B5EF4-FFF2-40B4-BE49-F238E27FC236}">
                  <a16:creationId xmlns:a16="http://schemas.microsoft.com/office/drawing/2014/main" id="{F418E24D-384A-43B0-905D-4A76D308229A}"/>
                </a:ext>
              </a:extLst>
            </p:cNvPr>
            <p:cNvSpPr/>
            <p:nvPr/>
          </p:nvSpPr>
          <p:spPr>
            <a:xfrm>
              <a:off x="3651840" y="4921338"/>
              <a:ext cx="140391" cy="152129"/>
            </a:xfrm>
            <a:custGeom>
              <a:avLst/>
              <a:gdLst>
                <a:gd name="connsiteX0" fmla="*/ 140164 w 140391"/>
                <a:gd name="connsiteY0" fmla="*/ 45162 h 152129"/>
                <a:gd name="connsiteX1" fmla="*/ 129038 w 140391"/>
                <a:gd name="connsiteY1" fmla="*/ 134175 h 152129"/>
                <a:gd name="connsiteX2" fmla="*/ 111038 w 140391"/>
                <a:gd name="connsiteY2" fmla="*/ 150210 h 152129"/>
                <a:gd name="connsiteX3" fmla="*/ 96966 w 140391"/>
                <a:gd name="connsiteY3" fmla="*/ 136792 h 152129"/>
                <a:gd name="connsiteX4" fmla="*/ 96966 w 140391"/>
                <a:gd name="connsiteY4" fmla="*/ 136138 h 152129"/>
                <a:gd name="connsiteX5" fmla="*/ 96966 w 140391"/>
                <a:gd name="connsiteY5" fmla="*/ 135156 h 152129"/>
                <a:gd name="connsiteX6" fmla="*/ 45915 w 140391"/>
                <a:gd name="connsiteY6" fmla="*/ 151519 h 152129"/>
                <a:gd name="connsiteX7" fmla="*/ 2 w 140391"/>
                <a:gd name="connsiteY7" fmla="*/ 114834 h 152129"/>
                <a:gd name="connsiteX8" fmla="*/ -228 w 140391"/>
                <a:gd name="connsiteY8" fmla="*/ 111594 h 152129"/>
                <a:gd name="connsiteX9" fmla="*/ 78968 w 140391"/>
                <a:gd name="connsiteY9" fmla="*/ 52689 h 152129"/>
                <a:gd name="connsiteX10" fmla="*/ 106785 w 140391"/>
                <a:gd name="connsiteY10" fmla="*/ 54652 h 152129"/>
                <a:gd name="connsiteX11" fmla="*/ 106785 w 140391"/>
                <a:gd name="connsiteY11" fmla="*/ 47453 h 152129"/>
                <a:gd name="connsiteX12" fmla="*/ 74059 w 140391"/>
                <a:gd name="connsiteY12" fmla="*/ 26508 h 152129"/>
                <a:gd name="connsiteX13" fmla="*/ 39697 w 140391"/>
                <a:gd name="connsiteY13" fmla="*/ 35345 h 152129"/>
                <a:gd name="connsiteX14" fmla="*/ 33479 w 140391"/>
                <a:gd name="connsiteY14" fmla="*/ 37308 h 152129"/>
                <a:gd name="connsiteX15" fmla="*/ 20717 w 140391"/>
                <a:gd name="connsiteY15" fmla="*/ 24545 h 152129"/>
                <a:gd name="connsiteX16" fmla="*/ 30534 w 140391"/>
                <a:gd name="connsiteY16" fmla="*/ 9491 h 152129"/>
                <a:gd name="connsiteX17" fmla="*/ 84531 w 140391"/>
                <a:gd name="connsiteY17" fmla="*/ -327 h 152129"/>
                <a:gd name="connsiteX18" fmla="*/ 139182 w 140391"/>
                <a:gd name="connsiteY18" fmla="*/ 39271 h 152129"/>
                <a:gd name="connsiteX19" fmla="*/ 140164 w 140391"/>
                <a:gd name="connsiteY19" fmla="*/ 45162 h 152129"/>
                <a:gd name="connsiteX20" fmla="*/ 81913 w 140391"/>
                <a:gd name="connsiteY20" fmla="*/ 74614 h 152129"/>
                <a:gd name="connsiteX21" fmla="*/ 33153 w 140391"/>
                <a:gd name="connsiteY21" fmla="*/ 102759 h 152129"/>
                <a:gd name="connsiteX22" fmla="*/ 57369 w 140391"/>
                <a:gd name="connsiteY22" fmla="*/ 122067 h 152129"/>
                <a:gd name="connsiteX23" fmla="*/ 100239 w 140391"/>
                <a:gd name="connsiteY23" fmla="*/ 109631 h 152129"/>
                <a:gd name="connsiteX24" fmla="*/ 103839 w 140391"/>
                <a:gd name="connsiteY24" fmla="*/ 76905 h 152129"/>
                <a:gd name="connsiteX25" fmla="*/ 80931 w 140391"/>
                <a:gd name="connsiteY25" fmla="*/ 74614 h 15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391" h="152129">
                  <a:moveTo>
                    <a:pt x="140164" y="45162"/>
                  </a:moveTo>
                  <a:lnTo>
                    <a:pt x="129038" y="134175"/>
                  </a:lnTo>
                  <a:cubicBezTo>
                    <a:pt x="127892" y="143272"/>
                    <a:pt x="120202" y="150112"/>
                    <a:pt x="111038" y="150210"/>
                  </a:cubicBezTo>
                  <a:cubicBezTo>
                    <a:pt x="103446" y="150407"/>
                    <a:pt x="97163" y="144385"/>
                    <a:pt x="96966" y="136792"/>
                  </a:cubicBezTo>
                  <a:cubicBezTo>
                    <a:pt x="96966" y="136564"/>
                    <a:pt x="96966" y="136367"/>
                    <a:pt x="96966" y="136138"/>
                  </a:cubicBezTo>
                  <a:lnTo>
                    <a:pt x="96966" y="135156"/>
                  </a:lnTo>
                  <a:cubicBezTo>
                    <a:pt x="81651" y="144942"/>
                    <a:pt x="64077" y="150602"/>
                    <a:pt x="45915" y="151519"/>
                  </a:cubicBezTo>
                  <a:cubicBezTo>
                    <a:pt x="23106" y="154072"/>
                    <a:pt x="2554" y="137643"/>
                    <a:pt x="2" y="114834"/>
                  </a:cubicBezTo>
                  <a:cubicBezTo>
                    <a:pt x="-129" y="113754"/>
                    <a:pt x="-195" y="112674"/>
                    <a:pt x="-228" y="111594"/>
                  </a:cubicBezTo>
                  <a:cubicBezTo>
                    <a:pt x="-228" y="71015"/>
                    <a:pt x="44606" y="52689"/>
                    <a:pt x="78968" y="52689"/>
                  </a:cubicBezTo>
                  <a:cubicBezTo>
                    <a:pt x="88262" y="52689"/>
                    <a:pt x="97556" y="53343"/>
                    <a:pt x="106785" y="54652"/>
                  </a:cubicBezTo>
                  <a:cubicBezTo>
                    <a:pt x="106947" y="52264"/>
                    <a:pt x="106947" y="49842"/>
                    <a:pt x="106785" y="47453"/>
                  </a:cubicBezTo>
                  <a:cubicBezTo>
                    <a:pt x="106785" y="28799"/>
                    <a:pt x="89767" y="26508"/>
                    <a:pt x="74059" y="26508"/>
                  </a:cubicBezTo>
                  <a:cubicBezTo>
                    <a:pt x="62082" y="26738"/>
                    <a:pt x="50300" y="29748"/>
                    <a:pt x="39697" y="35345"/>
                  </a:cubicBezTo>
                  <a:cubicBezTo>
                    <a:pt x="37831" y="36555"/>
                    <a:pt x="35705" y="37209"/>
                    <a:pt x="33479" y="37308"/>
                  </a:cubicBezTo>
                  <a:cubicBezTo>
                    <a:pt x="26443" y="37308"/>
                    <a:pt x="20717" y="31581"/>
                    <a:pt x="20717" y="24545"/>
                  </a:cubicBezTo>
                  <a:cubicBezTo>
                    <a:pt x="20782" y="18032"/>
                    <a:pt x="24611" y="12175"/>
                    <a:pt x="30534" y="9491"/>
                  </a:cubicBezTo>
                  <a:cubicBezTo>
                    <a:pt x="47715" y="2684"/>
                    <a:pt x="66074" y="-653"/>
                    <a:pt x="84531" y="-327"/>
                  </a:cubicBezTo>
                  <a:cubicBezTo>
                    <a:pt x="111366" y="-327"/>
                    <a:pt x="139182" y="7528"/>
                    <a:pt x="139182" y="39271"/>
                  </a:cubicBezTo>
                  <a:cubicBezTo>
                    <a:pt x="139608" y="41202"/>
                    <a:pt x="139935" y="43165"/>
                    <a:pt x="140164" y="45162"/>
                  </a:cubicBezTo>
                  <a:close/>
                  <a:moveTo>
                    <a:pt x="81913" y="74614"/>
                  </a:moveTo>
                  <a:cubicBezTo>
                    <a:pt x="64896" y="74614"/>
                    <a:pt x="33153" y="80505"/>
                    <a:pt x="33153" y="102759"/>
                  </a:cubicBezTo>
                  <a:cubicBezTo>
                    <a:pt x="33153" y="116503"/>
                    <a:pt x="45261" y="122067"/>
                    <a:pt x="57369" y="122067"/>
                  </a:cubicBezTo>
                  <a:cubicBezTo>
                    <a:pt x="72521" y="121772"/>
                    <a:pt x="87313" y="117484"/>
                    <a:pt x="100239" y="109631"/>
                  </a:cubicBezTo>
                  <a:lnTo>
                    <a:pt x="103839" y="76905"/>
                  </a:lnTo>
                  <a:cubicBezTo>
                    <a:pt x="96345" y="75073"/>
                    <a:pt x="88621" y="74288"/>
                    <a:pt x="80931" y="74614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8" name="Frihandsfigur: Form 67">
              <a:extLst>
                <a:ext uri="{FF2B5EF4-FFF2-40B4-BE49-F238E27FC236}">
                  <a16:creationId xmlns:a16="http://schemas.microsoft.com/office/drawing/2014/main" id="{866E447B-E82F-4F2F-9EF6-957314E5F44E}"/>
                </a:ext>
              </a:extLst>
            </p:cNvPr>
            <p:cNvSpPr/>
            <p:nvPr/>
          </p:nvSpPr>
          <p:spPr>
            <a:xfrm>
              <a:off x="3806632" y="4919944"/>
              <a:ext cx="155445" cy="215144"/>
            </a:xfrm>
            <a:custGeom>
              <a:avLst/>
              <a:gdLst>
                <a:gd name="connsiteX0" fmla="*/ 140491 w 155445"/>
                <a:gd name="connsiteY0" fmla="*/ 136550 h 215144"/>
                <a:gd name="connsiteX1" fmla="*/ 62311 w 155445"/>
                <a:gd name="connsiteY1" fmla="*/ 214796 h 215144"/>
                <a:gd name="connsiteX2" fmla="*/ 59987 w 155445"/>
                <a:gd name="connsiteY2" fmla="*/ 214764 h 215144"/>
                <a:gd name="connsiteX3" fmla="*/ -228 w 155445"/>
                <a:gd name="connsiteY3" fmla="*/ 189893 h 215144"/>
                <a:gd name="connsiteX4" fmla="*/ 17116 w 155445"/>
                <a:gd name="connsiteY4" fmla="*/ 172548 h 215144"/>
                <a:gd name="connsiteX5" fmla="*/ 24316 w 155445"/>
                <a:gd name="connsiteY5" fmla="*/ 174512 h 215144"/>
                <a:gd name="connsiteX6" fmla="*/ 60968 w 155445"/>
                <a:gd name="connsiteY6" fmla="*/ 186292 h 215144"/>
                <a:gd name="connsiteX7" fmla="*/ 106457 w 155445"/>
                <a:gd name="connsiteY7" fmla="*/ 146695 h 215144"/>
                <a:gd name="connsiteX8" fmla="*/ 108420 w 155445"/>
                <a:gd name="connsiteY8" fmla="*/ 134914 h 215144"/>
                <a:gd name="connsiteX9" fmla="*/ 59332 w 155445"/>
                <a:gd name="connsiteY9" fmla="*/ 150622 h 215144"/>
                <a:gd name="connsiteX10" fmla="*/ 4255 w 155445"/>
                <a:gd name="connsiteY10" fmla="*/ 90604 h 215144"/>
                <a:gd name="connsiteX11" fmla="*/ 4353 w 155445"/>
                <a:gd name="connsiteY11" fmla="*/ 89098 h 215144"/>
                <a:gd name="connsiteX12" fmla="*/ 81585 w 155445"/>
                <a:gd name="connsiteY12" fmla="*/ 85 h 215144"/>
                <a:gd name="connsiteX13" fmla="*/ 122820 w 155445"/>
                <a:gd name="connsiteY13" fmla="*/ 16448 h 215144"/>
                <a:gd name="connsiteX14" fmla="*/ 140818 w 155445"/>
                <a:gd name="connsiteY14" fmla="*/ 85 h 215144"/>
                <a:gd name="connsiteX15" fmla="*/ 155217 w 155445"/>
                <a:gd name="connsiteY15" fmla="*/ 14158 h 215144"/>
                <a:gd name="connsiteX16" fmla="*/ 83549 w 155445"/>
                <a:gd name="connsiteY16" fmla="*/ 29865 h 215144"/>
                <a:gd name="connsiteX17" fmla="*/ 37373 w 155445"/>
                <a:gd name="connsiteY17" fmla="*/ 84156 h 215144"/>
                <a:gd name="connsiteX18" fmla="*/ 37406 w 155445"/>
                <a:gd name="connsiteY18" fmla="*/ 84517 h 215144"/>
                <a:gd name="connsiteX19" fmla="*/ 69313 w 155445"/>
                <a:gd name="connsiteY19" fmla="*/ 123002 h 215144"/>
                <a:gd name="connsiteX20" fmla="*/ 71768 w 155445"/>
                <a:gd name="connsiteY20" fmla="*/ 123133 h 215144"/>
                <a:gd name="connsiteX21" fmla="*/ 118565 w 155445"/>
                <a:gd name="connsiteY21" fmla="*/ 67173 h 215144"/>
                <a:gd name="connsiteX22" fmla="*/ 90879 w 155445"/>
                <a:gd name="connsiteY22" fmla="*/ 30095 h 215144"/>
                <a:gd name="connsiteX23" fmla="*/ 83549 w 155445"/>
                <a:gd name="connsiteY23" fmla="*/ 29865 h 21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445" h="215144">
                  <a:moveTo>
                    <a:pt x="140491" y="136550"/>
                  </a:moveTo>
                  <a:cubicBezTo>
                    <a:pt x="140524" y="179748"/>
                    <a:pt x="105507" y="214764"/>
                    <a:pt x="62311" y="214796"/>
                  </a:cubicBezTo>
                  <a:cubicBezTo>
                    <a:pt x="61525" y="214796"/>
                    <a:pt x="60772" y="214796"/>
                    <a:pt x="59987" y="214764"/>
                  </a:cubicBezTo>
                  <a:cubicBezTo>
                    <a:pt x="45915" y="214764"/>
                    <a:pt x="-228" y="208546"/>
                    <a:pt x="-228" y="189893"/>
                  </a:cubicBezTo>
                  <a:cubicBezTo>
                    <a:pt x="-64" y="180402"/>
                    <a:pt x="7626" y="172712"/>
                    <a:pt x="17116" y="172548"/>
                  </a:cubicBezTo>
                  <a:cubicBezTo>
                    <a:pt x="19636" y="172679"/>
                    <a:pt x="22091" y="173366"/>
                    <a:pt x="24316" y="174512"/>
                  </a:cubicBezTo>
                  <a:cubicBezTo>
                    <a:pt x="35246" y="181678"/>
                    <a:pt x="47911" y="185736"/>
                    <a:pt x="60968" y="186292"/>
                  </a:cubicBezTo>
                  <a:cubicBezTo>
                    <a:pt x="83746" y="185933"/>
                    <a:pt x="102955" y="169210"/>
                    <a:pt x="106457" y="146695"/>
                  </a:cubicBezTo>
                  <a:cubicBezTo>
                    <a:pt x="106457" y="141459"/>
                    <a:pt x="108420" y="134914"/>
                    <a:pt x="108420" y="134914"/>
                  </a:cubicBezTo>
                  <a:cubicBezTo>
                    <a:pt x="94348" y="145615"/>
                    <a:pt x="77003" y="151178"/>
                    <a:pt x="59332" y="150622"/>
                  </a:cubicBezTo>
                  <a:cubicBezTo>
                    <a:pt x="27556" y="149248"/>
                    <a:pt x="2914" y="122380"/>
                    <a:pt x="4255" y="90604"/>
                  </a:cubicBezTo>
                  <a:cubicBezTo>
                    <a:pt x="4288" y="90113"/>
                    <a:pt x="4321" y="89589"/>
                    <a:pt x="4353" y="89098"/>
                  </a:cubicBezTo>
                  <a:cubicBezTo>
                    <a:pt x="2553" y="43708"/>
                    <a:pt x="36391" y="4700"/>
                    <a:pt x="81585" y="85"/>
                  </a:cubicBezTo>
                  <a:cubicBezTo>
                    <a:pt x="97261" y="-2107"/>
                    <a:pt x="112937" y="4111"/>
                    <a:pt x="122820" y="16448"/>
                  </a:cubicBezTo>
                  <a:cubicBezTo>
                    <a:pt x="123801" y="7220"/>
                    <a:pt x="131557" y="184"/>
                    <a:pt x="140818" y="85"/>
                  </a:cubicBezTo>
                  <a:cubicBezTo>
                    <a:pt x="148640" y="85"/>
                    <a:pt x="155054" y="6336"/>
                    <a:pt x="155217" y="14158"/>
                  </a:cubicBezTo>
                  <a:close/>
                  <a:moveTo>
                    <a:pt x="83549" y="29865"/>
                  </a:moveTo>
                  <a:cubicBezTo>
                    <a:pt x="55798" y="32123"/>
                    <a:pt x="35148" y="56406"/>
                    <a:pt x="37373" y="84156"/>
                  </a:cubicBezTo>
                  <a:cubicBezTo>
                    <a:pt x="37373" y="84288"/>
                    <a:pt x="37406" y="84386"/>
                    <a:pt x="37406" y="84517"/>
                  </a:cubicBezTo>
                  <a:cubicBezTo>
                    <a:pt x="35606" y="103956"/>
                    <a:pt x="49875" y="121169"/>
                    <a:pt x="69313" y="123002"/>
                  </a:cubicBezTo>
                  <a:cubicBezTo>
                    <a:pt x="70131" y="123068"/>
                    <a:pt x="70949" y="123100"/>
                    <a:pt x="71768" y="123133"/>
                  </a:cubicBezTo>
                  <a:cubicBezTo>
                    <a:pt x="104494" y="123133"/>
                    <a:pt x="118565" y="96298"/>
                    <a:pt x="118565" y="67173"/>
                  </a:cubicBezTo>
                  <a:cubicBezTo>
                    <a:pt x="121150" y="49272"/>
                    <a:pt x="108747" y="32680"/>
                    <a:pt x="90879" y="30095"/>
                  </a:cubicBezTo>
                  <a:cubicBezTo>
                    <a:pt x="88457" y="29734"/>
                    <a:pt x="86004" y="29669"/>
                    <a:pt x="83549" y="2986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69" name="Frihandsfigur: Form 68">
              <a:extLst>
                <a:ext uri="{FF2B5EF4-FFF2-40B4-BE49-F238E27FC236}">
                  <a16:creationId xmlns:a16="http://schemas.microsoft.com/office/drawing/2014/main" id="{94D16E08-444C-4822-A425-33226528A864}"/>
                </a:ext>
              </a:extLst>
            </p:cNvPr>
            <p:cNvSpPr/>
            <p:nvPr/>
          </p:nvSpPr>
          <p:spPr>
            <a:xfrm>
              <a:off x="3980934" y="4918512"/>
              <a:ext cx="148219" cy="154645"/>
            </a:xfrm>
            <a:custGeom>
              <a:avLst/>
              <a:gdLst>
                <a:gd name="connsiteX0" fmla="*/ 128179 w 148219"/>
                <a:gd name="connsiteY0" fmla="*/ 82677 h 154645"/>
                <a:gd name="connsiteX1" fmla="*/ 31966 w 148219"/>
                <a:gd name="connsiteY1" fmla="*/ 82677 h 154645"/>
                <a:gd name="connsiteX2" fmla="*/ 31966 w 148219"/>
                <a:gd name="connsiteY2" fmla="*/ 88567 h 154645"/>
                <a:gd name="connsiteX3" fmla="*/ 76472 w 148219"/>
                <a:gd name="connsiteY3" fmla="*/ 127838 h 154645"/>
                <a:gd name="connsiteX4" fmla="*/ 116070 w 148219"/>
                <a:gd name="connsiteY4" fmla="*/ 112130 h 154645"/>
                <a:gd name="connsiteX5" fmla="*/ 125234 w 148219"/>
                <a:gd name="connsiteY5" fmla="*/ 108530 h 154645"/>
                <a:gd name="connsiteX6" fmla="*/ 137636 w 148219"/>
                <a:gd name="connsiteY6" fmla="*/ 118970 h 154645"/>
                <a:gd name="connsiteX7" fmla="*/ 137669 w 148219"/>
                <a:gd name="connsiteY7" fmla="*/ 120311 h 154645"/>
                <a:gd name="connsiteX8" fmla="*/ 131451 w 148219"/>
                <a:gd name="connsiteY8" fmla="*/ 133074 h 154645"/>
                <a:gd name="connsiteX9" fmla="*/ 69600 w 148219"/>
                <a:gd name="connsiteY9" fmla="*/ 153691 h 154645"/>
                <a:gd name="connsiteX10" fmla="*/ 451 w 148219"/>
                <a:gd name="connsiteY10" fmla="*/ 101658 h 154645"/>
                <a:gd name="connsiteX11" fmla="*/ -105 w 148219"/>
                <a:gd name="connsiteY11" fmla="*/ 90858 h 154645"/>
                <a:gd name="connsiteX12" fmla="*/ 81577 w 148219"/>
                <a:gd name="connsiteY12" fmla="*/ 13 h 154645"/>
                <a:gd name="connsiteX13" fmla="*/ 85636 w 148219"/>
                <a:gd name="connsiteY13" fmla="*/ -118 h 154645"/>
                <a:gd name="connsiteX14" fmla="*/ 147748 w 148219"/>
                <a:gd name="connsiteY14" fmla="*/ 51850 h 154645"/>
                <a:gd name="connsiteX15" fmla="*/ 147814 w 148219"/>
                <a:gd name="connsiteY15" fmla="*/ 61406 h 154645"/>
                <a:gd name="connsiteX16" fmla="*/ 147814 w 148219"/>
                <a:gd name="connsiteY16" fmla="*/ 65005 h 154645"/>
                <a:gd name="connsiteX17" fmla="*/ 128179 w 148219"/>
                <a:gd name="connsiteY17" fmla="*/ 82677 h 154645"/>
                <a:gd name="connsiteX18" fmla="*/ 114761 w 148219"/>
                <a:gd name="connsiteY18" fmla="*/ 57479 h 154645"/>
                <a:gd name="connsiteX19" fmla="*/ 86814 w 148219"/>
                <a:gd name="connsiteY19" fmla="*/ 24753 h 154645"/>
                <a:gd name="connsiteX20" fmla="*/ 82036 w 148219"/>
                <a:gd name="connsiteY20" fmla="*/ 24753 h 154645"/>
                <a:gd name="connsiteX21" fmla="*/ 36548 w 148219"/>
                <a:gd name="connsiteY21" fmla="*/ 57479 h 154645"/>
                <a:gd name="connsiteX22" fmla="*/ 115743 w 148219"/>
                <a:gd name="connsiteY22" fmla="*/ 57479 h 154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219" h="154645">
                  <a:moveTo>
                    <a:pt x="128179" y="82677"/>
                  </a:moveTo>
                  <a:lnTo>
                    <a:pt x="31966" y="82677"/>
                  </a:lnTo>
                  <a:cubicBezTo>
                    <a:pt x="31835" y="84640"/>
                    <a:pt x="31835" y="86604"/>
                    <a:pt x="31966" y="88567"/>
                  </a:cubicBezTo>
                  <a:cubicBezTo>
                    <a:pt x="31966" y="116056"/>
                    <a:pt x="51602" y="127838"/>
                    <a:pt x="76472" y="127838"/>
                  </a:cubicBezTo>
                  <a:cubicBezTo>
                    <a:pt x="91068" y="127151"/>
                    <a:pt x="104976" y="121620"/>
                    <a:pt x="116070" y="112130"/>
                  </a:cubicBezTo>
                  <a:cubicBezTo>
                    <a:pt x="118688" y="110068"/>
                    <a:pt x="121895" y="108792"/>
                    <a:pt x="125234" y="108530"/>
                  </a:cubicBezTo>
                  <a:cubicBezTo>
                    <a:pt x="131549" y="107974"/>
                    <a:pt x="137080" y="112654"/>
                    <a:pt x="137636" y="118970"/>
                  </a:cubicBezTo>
                  <a:cubicBezTo>
                    <a:pt x="137669" y="119395"/>
                    <a:pt x="137669" y="119853"/>
                    <a:pt x="137669" y="120311"/>
                  </a:cubicBezTo>
                  <a:cubicBezTo>
                    <a:pt x="137931" y="125351"/>
                    <a:pt x="135574" y="130161"/>
                    <a:pt x="131451" y="133074"/>
                  </a:cubicBezTo>
                  <a:cubicBezTo>
                    <a:pt x="114172" y="147505"/>
                    <a:pt x="92083" y="154869"/>
                    <a:pt x="69600" y="153691"/>
                  </a:cubicBezTo>
                  <a:cubicBezTo>
                    <a:pt x="36123" y="158403"/>
                    <a:pt x="5164" y="135103"/>
                    <a:pt x="451" y="101658"/>
                  </a:cubicBezTo>
                  <a:cubicBezTo>
                    <a:pt x="-39" y="98058"/>
                    <a:pt x="-236" y="94459"/>
                    <a:pt x="-105" y="90858"/>
                  </a:cubicBezTo>
                  <a:cubicBezTo>
                    <a:pt x="-2625" y="43210"/>
                    <a:pt x="33930" y="2532"/>
                    <a:pt x="81577" y="13"/>
                  </a:cubicBezTo>
                  <a:cubicBezTo>
                    <a:pt x="82920" y="-85"/>
                    <a:pt x="84294" y="-118"/>
                    <a:pt x="85636" y="-118"/>
                  </a:cubicBezTo>
                  <a:cubicBezTo>
                    <a:pt x="117150" y="-2932"/>
                    <a:pt x="144967" y="20335"/>
                    <a:pt x="147748" y="51850"/>
                  </a:cubicBezTo>
                  <a:cubicBezTo>
                    <a:pt x="148043" y="55024"/>
                    <a:pt x="148076" y="58231"/>
                    <a:pt x="147814" y="61406"/>
                  </a:cubicBezTo>
                  <a:lnTo>
                    <a:pt x="147814" y="65005"/>
                  </a:lnTo>
                  <a:cubicBezTo>
                    <a:pt x="146538" y="74921"/>
                    <a:pt x="138193" y="82448"/>
                    <a:pt x="128179" y="82677"/>
                  </a:cubicBezTo>
                  <a:close/>
                  <a:moveTo>
                    <a:pt x="114761" y="57479"/>
                  </a:moveTo>
                  <a:cubicBezTo>
                    <a:pt x="116070" y="40724"/>
                    <a:pt x="103569" y="26062"/>
                    <a:pt x="86814" y="24753"/>
                  </a:cubicBezTo>
                  <a:cubicBezTo>
                    <a:pt x="85211" y="24623"/>
                    <a:pt x="83607" y="24623"/>
                    <a:pt x="82036" y="24753"/>
                  </a:cubicBezTo>
                  <a:cubicBezTo>
                    <a:pt x="61354" y="24590"/>
                    <a:pt x="42962" y="37810"/>
                    <a:pt x="36548" y="57479"/>
                  </a:cubicBezTo>
                  <a:lnTo>
                    <a:pt x="115743" y="57479"/>
                  </a:ln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0" name="Frihandsfigur: Form 69">
              <a:extLst>
                <a:ext uri="{FF2B5EF4-FFF2-40B4-BE49-F238E27FC236}">
                  <a16:creationId xmlns:a16="http://schemas.microsoft.com/office/drawing/2014/main" id="{3DB1B9B5-CC24-4882-8CEF-A76BDC029538}"/>
                </a:ext>
              </a:extLst>
            </p:cNvPr>
            <p:cNvSpPr/>
            <p:nvPr/>
          </p:nvSpPr>
          <p:spPr>
            <a:xfrm>
              <a:off x="4146975" y="4918399"/>
              <a:ext cx="119447" cy="152189"/>
            </a:xfrm>
            <a:custGeom>
              <a:avLst/>
              <a:gdLst>
                <a:gd name="connsiteX0" fmla="*/ 98276 w 119447"/>
                <a:gd name="connsiteY0" fmla="*/ 39919 h 152189"/>
                <a:gd name="connsiteX1" fmla="*/ 76023 w 119447"/>
                <a:gd name="connsiteY1" fmla="*/ 33702 h 152189"/>
                <a:gd name="connsiteX2" fmla="*/ 40351 w 119447"/>
                <a:gd name="connsiteY2" fmla="*/ 70681 h 152189"/>
                <a:gd name="connsiteX3" fmla="*/ 32170 w 119447"/>
                <a:gd name="connsiteY3" fmla="*/ 136132 h 152189"/>
                <a:gd name="connsiteX4" fmla="*/ 14171 w 119447"/>
                <a:gd name="connsiteY4" fmla="*/ 151841 h 152189"/>
                <a:gd name="connsiteX5" fmla="*/ -228 w 119447"/>
                <a:gd name="connsiteY5" fmla="*/ 137768 h 152189"/>
                <a:gd name="connsiteX6" fmla="*/ -228 w 119447"/>
                <a:gd name="connsiteY6" fmla="*/ 138095 h 152189"/>
                <a:gd name="connsiteX7" fmla="*/ 15153 w 119447"/>
                <a:gd name="connsiteY7" fmla="*/ 15703 h 152189"/>
                <a:gd name="connsiteX8" fmla="*/ 33152 w 119447"/>
                <a:gd name="connsiteY8" fmla="*/ -333 h 152189"/>
                <a:gd name="connsiteX9" fmla="*/ 47551 w 119447"/>
                <a:gd name="connsiteY9" fmla="*/ 12725 h 152189"/>
                <a:gd name="connsiteX10" fmla="*/ 47551 w 119447"/>
                <a:gd name="connsiteY10" fmla="*/ 13740 h 152189"/>
                <a:gd name="connsiteX11" fmla="*/ 47551 w 119447"/>
                <a:gd name="connsiteY11" fmla="*/ 25193 h 152189"/>
                <a:gd name="connsiteX12" fmla="*/ 89439 w 119447"/>
                <a:gd name="connsiteY12" fmla="*/ 2612 h 152189"/>
                <a:gd name="connsiteX13" fmla="*/ 119219 w 119447"/>
                <a:gd name="connsiteY13" fmla="*/ 22575 h 152189"/>
                <a:gd name="connsiteX14" fmla="*/ 98276 w 119447"/>
                <a:gd name="connsiteY14" fmla="*/ 39919 h 152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447" h="152189">
                  <a:moveTo>
                    <a:pt x="98276" y="39919"/>
                  </a:moveTo>
                  <a:cubicBezTo>
                    <a:pt x="90749" y="39919"/>
                    <a:pt x="87149" y="33702"/>
                    <a:pt x="76023" y="33702"/>
                  </a:cubicBezTo>
                  <a:cubicBezTo>
                    <a:pt x="56846" y="35960"/>
                    <a:pt x="41922" y="51438"/>
                    <a:pt x="40351" y="70681"/>
                  </a:cubicBezTo>
                  <a:lnTo>
                    <a:pt x="32170" y="136132"/>
                  </a:lnTo>
                  <a:cubicBezTo>
                    <a:pt x="30632" y="144968"/>
                    <a:pt x="23138" y="151513"/>
                    <a:pt x="14171" y="151841"/>
                  </a:cubicBezTo>
                  <a:cubicBezTo>
                    <a:pt x="6350" y="151841"/>
                    <a:pt x="-64" y="145590"/>
                    <a:pt x="-228" y="137768"/>
                  </a:cubicBezTo>
                  <a:lnTo>
                    <a:pt x="-228" y="138095"/>
                  </a:lnTo>
                  <a:lnTo>
                    <a:pt x="15153" y="15703"/>
                  </a:lnTo>
                  <a:cubicBezTo>
                    <a:pt x="16429" y="6671"/>
                    <a:pt x="24054" y="-103"/>
                    <a:pt x="33152" y="-333"/>
                  </a:cubicBezTo>
                  <a:cubicBezTo>
                    <a:pt x="40745" y="-693"/>
                    <a:pt x="47191" y="5165"/>
                    <a:pt x="47551" y="12725"/>
                  </a:cubicBezTo>
                  <a:cubicBezTo>
                    <a:pt x="47551" y="13084"/>
                    <a:pt x="47551" y="13412"/>
                    <a:pt x="47551" y="13740"/>
                  </a:cubicBezTo>
                  <a:cubicBezTo>
                    <a:pt x="47845" y="17536"/>
                    <a:pt x="47845" y="21397"/>
                    <a:pt x="47551" y="25193"/>
                  </a:cubicBezTo>
                  <a:cubicBezTo>
                    <a:pt x="57467" y="11808"/>
                    <a:pt x="72815" y="3529"/>
                    <a:pt x="89439" y="2612"/>
                  </a:cubicBezTo>
                  <a:cubicBezTo>
                    <a:pt x="101548" y="2612"/>
                    <a:pt x="119219" y="8176"/>
                    <a:pt x="119219" y="22575"/>
                  </a:cubicBezTo>
                  <a:cubicBezTo>
                    <a:pt x="117878" y="32949"/>
                    <a:pt x="108715" y="40509"/>
                    <a:pt x="98276" y="3991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1" name="Frihandsfigur: Form 70">
              <a:extLst>
                <a:ext uri="{FF2B5EF4-FFF2-40B4-BE49-F238E27FC236}">
                  <a16:creationId xmlns:a16="http://schemas.microsoft.com/office/drawing/2014/main" id="{A03F39EC-8B3B-4FCF-B4CE-E3C9EA879CCC}"/>
                </a:ext>
              </a:extLst>
            </p:cNvPr>
            <p:cNvSpPr/>
            <p:nvPr/>
          </p:nvSpPr>
          <p:spPr>
            <a:xfrm>
              <a:off x="4263150" y="4921334"/>
              <a:ext cx="141046" cy="152133"/>
            </a:xfrm>
            <a:custGeom>
              <a:avLst/>
              <a:gdLst>
                <a:gd name="connsiteX0" fmla="*/ 140163 w 141046"/>
                <a:gd name="connsiteY0" fmla="*/ 45166 h 152133"/>
                <a:gd name="connsiteX1" fmla="*/ 129037 w 141046"/>
                <a:gd name="connsiteY1" fmla="*/ 134179 h 152133"/>
                <a:gd name="connsiteX2" fmla="*/ 111038 w 141046"/>
                <a:gd name="connsiteY2" fmla="*/ 150214 h 152133"/>
                <a:gd name="connsiteX3" fmla="*/ 96965 w 141046"/>
                <a:gd name="connsiteY3" fmla="*/ 136797 h 152133"/>
                <a:gd name="connsiteX4" fmla="*/ 96965 w 141046"/>
                <a:gd name="connsiteY4" fmla="*/ 136143 h 152133"/>
                <a:gd name="connsiteX5" fmla="*/ 96965 w 141046"/>
                <a:gd name="connsiteY5" fmla="*/ 135161 h 152133"/>
                <a:gd name="connsiteX6" fmla="*/ 45914 w 141046"/>
                <a:gd name="connsiteY6" fmla="*/ 151524 h 152133"/>
                <a:gd name="connsiteX7" fmla="*/ 1 w 141046"/>
                <a:gd name="connsiteY7" fmla="*/ 114838 h 152133"/>
                <a:gd name="connsiteX8" fmla="*/ -228 w 141046"/>
                <a:gd name="connsiteY8" fmla="*/ 111599 h 152133"/>
                <a:gd name="connsiteX9" fmla="*/ 79294 w 141046"/>
                <a:gd name="connsiteY9" fmla="*/ 52693 h 152133"/>
                <a:gd name="connsiteX10" fmla="*/ 106784 w 141046"/>
                <a:gd name="connsiteY10" fmla="*/ 54657 h 152133"/>
                <a:gd name="connsiteX11" fmla="*/ 106784 w 141046"/>
                <a:gd name="connsiteY11" fmla="*/ 47457 h 152133"/>
                <a:gd name="connsiteX12" fmla="*/ 74058 w 141046"/>
                <a:gd name="connsiteY12" fmla="*/ 26513 h 152133"/>
                <a:gd name="connsiteX13" fmla="*/ 41333 w 141046"/>
                <a:gd name="connsiteY13" fmla="*/ 35349 h 152133"/>
                <a:gd name="connsiteX14" fmla="*/ 35115 w 141046"/>
                <a:gd name="connsiteY14" fmla="*/ 37312 h 152133"/>
                <a:gd name="connsiteX15" fmla="*/ 22352 w 141046"/>
                <a:gd name="connsiteY15" fmla="*/ 24549 h 152133"/>
                <a:gd name="connsiteX16" fmla="*/ 32170 w 141046"/>
                <a:gd name="connsiteY16" fmla="*/ 9496 h 152133"/>
                <a:gd name="connsiteX17" fmla="*/ 86494 w 141046"/>
                <a:gd name="connsiteY17" fmla="*/ -322 h 152133"/>
                <a:gd name="connsiteX18" fmla="*/ 140818 w 141046"/>
                <a:gd name="connsiteY18" fmla="*/ 39276 h 152133"/>
                <a:gd name="connsiteX19" fmla="*/ 140163 w 141046"/>
                <a:gd name="connsiteY19" fmla="*/ 45166 h 152133"/>
                <a:gd name="connsiteX20" fmla="*/ 81912 w 141046"/>
                <a:gd name="connsiteY20" fmla="*/ 74619 h 152133"/>
                <a:gd name="connsiteX21" fmla="*/ 33479 w 141046"/>
                <a:gd name="connsiteY21" fmla="*/ 102763 h 152133"/>
                <a:gd name="connsiteX22" fmla="*/ 57368 w 141046"/>
                <a:gd name="connsiteY22" fmla="*/ 122071 h 152133"/>
                <a:gd name="connsiteX23" fmla="*/ 100238 w 141046"/>
                <a:gd name="connsiteY23" fmla="*/ 109635 h 152133"/>
                <a:gd name="connsiteX24" fmla="*/ 103838 w 141046"/>
                <a:gd name="connsiteY24" fmla="*/ 76910 h 152133"/>
                <a:gd name="connsiteX25" fmla="*/ 81912 w 141046"/>
                <a:gd name="connsiteY25" fmla="*/ 74619 h 15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046" h="152133">
                  <a:moveTo>
                    <a:pt x="140163" y="45166"/>
                  </a:moveTo>
                  <a:lnTo>
                    <a:pt x="129037" y="134179"/>
                  </a:lnTo>
                  <a:cubicBezTo>
                    <a:pt x="127891" y="143276"/>
                    <a:pt x="120201" y="150116"/>
                    <a:pt x="111038" y="150214"/>
                  </a:cubicBezTo>
                  <a:cubicBezTo>
                    <a:pt x="103446" y="150411"/>
                    <a:pt x="97162" y="144390"/>
                    <a:pt x="96965" y="136797"/>
                  </a:cubicBezTo>
                  <a:cubicBezTo>
                    <a:pt x="96965" y="136568"/>
                    <a:pt x="96965" y="136371"/>
                    <a:pt x="96965" y="136143"/>
                  </a:cubicBezTo>
                  <a:lnTo>
                    <a:pt x="96965" y="135161"/>
                  </a:lnTo>
                  <a:cubicBezTo>
                    <a:pt x="81650" y="144946"/>
                    <a:pt x="64077" y="150607"/>
                    <a:pt x="45914" y="151524"/>
                  </a:cubicBezTo>
                  <a:cubicBezTo>
                    <a:pt x="23105" y="154076"/>
                    <a:pt x="2553" y="137648"/>
                    <a:pt x="1" y="114838"/>
                  </a:cubicBezTo>
                  <a:cubicBezTo>
                    <a:pt x="-130" y="113759"/>
                    <a:pt x="-196" y="112678"/>
                    <a:pt x="-228" y="111599"/>
                  </a:cubicBezTo>
                  <a:cubicBezTo>
                    <a:pt x="-228" y="71019"/>
                    <a:pt x="44606" y="52693"/>
                    <a:pt x="79294" y="52693"/>
                  </a:cubicBezTo>
                  <a:cubicBezTo>
                    <a:pt x="88490" y="52693"/>
                    <a:pt x="97685" y="53348"/>
                    <a:pt x="106784" y="54657"/>
                  </a:cubicBezTo>
                  <a:cubicBezTo>
                    <a:pt x="106947" y="52268"/>
                    <a:pt x="106947" y="49846"/>
                    <a:pt x="106784" y="47457"/>
                  </a:cubicBezTo>
                  <a:cubicBezTo>
                    <a:pt x="106784" y="28804"/>
                    <a:pt x="89767" y="26513"/>
                    <a:pt x="74058" y="26513"/>
                  </a:cubicBezTo>
                  <a:cubicBezTo>
                    <a:pt x="62637" y="27004"/>
                    <a:pt x="51445" y="30014"/>
                    <a:pt x="41333" y="35349"/>
                  </a:cubicBezTo>
                  <a:cubicBezTo>
                    <a:pt x="39467" y="36559"/>
                    <a:pt x="37340" y="37214"/>
                    <a:pt x="35115" y="37312"/>
                  </a:cubicBezTo>
                  <a:cubicBezTo>
                    <a:pt x="28079" y="37312"/>
                    <a:pt x="22352" y="31585"/>
                    <a:pt x="22352" y="24549"/>
                  </a:cubicBezTo>
                  <a:cubicBezTo>
                    <a:pt x="22418" y="18037"/>
                    <a:pt x="26247" y="12179"/>
                    <a:pt x="32170" y="9496"/>
                  </a:cubicBezTo>
                  <a:cubicBezTo>
                    <a:pt x="49448" y="2656"/>
                    <a:pt x="67905" y="-682"/>
                    <a:pt x="86494" y="-322"/>
                  </a:cubicBezTo>
                  <a:cubicBezTo>
                    <a:pt x="113001" y="-322"/>
                    <a:pt x="140818" y="7532"/>
                    <a:pt x="140818" y="39276"/>
                  </a:cubicBezTo>
                  <a:cubicBezTo>
                    <a:pt x="140719" y="41239"/>
                    <a:pt x="140491" y="43203"/>
                    <a:pt x="140163" y="45166"/>
                  </a:cubicBezTo>
                  <a:close/>
                  <a:moveTo>
                    <a:pt x="81912" y="74619"/>
                  </a:moveTo>
                  <a:cubicBezTo>
                    <a:pt x="64895" y="74619"/>
                    <a:pt x="33479" y="80509"/>
                    <a:pt x="33479" y="102763"/>
                  </a:cubicBezTo>
                  <a:cubicBezTo>
                    <a:pt x="33479" y="116507"/>
                    <a:pt x="45260" y="122071"/>
                    <a:pt x="57368" y="122071"/>
                  </a:cubicBezTo>
                  <a:cubicBezTo>
                    <a:pt x="72520" y="121809"/>
                    <a:pt x="87312" y="117522"/>
                    <a:pt x="100238" y="109635"/>
                  </a:cubicBezTo>
                  <a:lnTo>
                    <a:pt x="103838" y="76910"/>
                  </a:lnTo>
                  <a:cubicBezTo>
                    <a:pt x="96672" y="75142"/>
                    <a:pt x="89275" y="74390"/>
                    <a:pt x="81912" y="7461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2" name="Frihandsfigur: Form 71">
              <a:extLst>
                <a:ext uri="{FF2B5EF4-FFF2-40B4-BE49-F238E27FC236}">
                  <a16:creationId xmlns:a16="http://schemas.microsoft.com/office/drawing/2014/main" id="{F59698B2-168C-4C15-B09F-85C8B208853D}"/>
                </a:ext>
              </a:extLst>
            </p:cNvPr>
            <p:cNvSpPr/>
            <p:nvPr/>
          </p:nvSpPr>
          <p:spPr>
            <a:xfrm>
              <a:off x="4422291" y="4821220"/>
              <a:ext cx="163857" cy="250676"/>
            </a:xfrm>
            <a:custGeom>
              <a:avLst/>
              <a:gdLst>
                <a:gd name="connsiteX0" fmla="*/ 136795 w 163857"/>
                <a:gd name="connsiteY0" fmla="*/ 235274 h 250676"/>
                <a:gd name="connsiteX1" fmla="*/ 119778 w 163857"/>
                <a:gd name="connsiteY1" fmla="*/ 250327 h 250676"/>
                <a:gd name="connsiteX2" fmla="*/ 106687 w 163857"/>
                <a:gd name="connsiteY2" fmla="*/ 237237 h 250676"/>
                <a:gd name="connsiteX3" fmla="*/ 106687 w 163857"/>
                <a:gd name="connsiteY3" fmla="*/ 231347 h 250676"/>
                <a:gd name="connsiteX4" fmla="*/ 57273 w 163857"/>
                <a:gd name="connsiteY4" fmla="*/ 250001 h 250676"/>
                <a:gd name="connsiteX5" fmla="*/ -226 w 163857"/>
                <a:gd name="connsiteY5" fmla="*/ 191651 h 250676"/>
                <a:gd name="connsiteX6" fmla="*/ 3 w 163857"/>
                <a:gd name="connsiteY6" fmla="*/ 186840 h 250676"/>
                <a:gd name="connsiteX7" fmla="*/ 78872 w 163857"/>
                <a:gd name="connsiteY7" fmla="*/ 99464 h 250676"/>
                <a:gd name="connsiteX8" fmla="*/ 119123 w 163857"/>
                <a:gd name="connsiteY8" fmla="*/ 113863 h 250676"/>
                <a:gd name="connsiteX9" fmla="*/ 131231 w 163857"/>
                <a:gd name="connsiteY9" fmla="*/ 15687 h 250676"/>
                <a:gd name="connsiteX10" fmla="*/ 149231 w 163857"/>
                <a:gd name="connsiteY10" fmla="*/ -349 h 250676"/>
                <a:gd name="connsiteX11" fmla="*/ 163630 w 163857"/>
                <a:gd name="connsiteY11" fmla="*/ 13724 h 250676"/>
                <a:gd name="connsiteX12" fmla="*/ 136795 w 163857"/>
                <a:gd name="connsiteY12" fmla="*/ 235274 h 250676"/>
                <a:gd name="connsiteX13" fmla="*/ 78872 w 163857"/>
                <a:gd name="connsiteY13" fmla="*/ 128589 h 250676"/>
                <a:gd name="connsiteX14" fmla="*/ 33055 w 163857"/>
                <a:gd name="connsiteY14" fmla="*/ 182587 h 250676"/>
                <a:gd name="connsiteX15" fmla="*/ 33055 w 163857"/>
                <a:gd name="connsiteY15" fmla="*/ 182587 h 250676"/>
                <a:gd name="connsiteX16" fmla="*/ 63916 w 163857"/>
                <a:gd name="connsiteY16" fmla="*/ 221300 h 250676"/>
                <a:gd name="connsiteX17" fmla="*/ 67744 w 163857"/>
                <a:gd name="connsiteY17" fmla="*/ 221529 h 250676"/>
                <a:gd name="connsiteX18" fmla="*/ 114411 w 163857"/>
                <a:gd name="connsiteY18" fmla="*/ 168875 h 250676"/>
                <a:gd name="connsiteX19" fmla="*/ 114214 w 163857"/>
                <a:gd name="connsiteY19" fmla="*/ 166551 h 250676"/>
                <a:gd name="connsiteX20" fmla="*/ 82962 w 163857"/>
                <a:gd name="connsiteY20" fmla="*/ 128720 h 250676"/>
                <a:gd name="connsiteX21" fmla="*/ 78872 w 163857"/>
                <a:gd name="connsiteY21" fmla="*/ 128589 h 2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3857" h="250676">
                  <a:moveTo>
                    <a:pt x="136795" y="235274"/>
                  </a:moveTo>
                  <a:cubicBezTo>
                    <a:pt x="135649" y="243815"/>
                    <a:pt x="128417" y="250230"/>
                    <a:pt x="119778" y="250327"/>
                  </a:cubicBezTo>
                  <a:cubicBezTo>
                    <a:pt x="112611" y="250164"/>
                    <a:pt x="106851" y="244404"/>
                    <a:pt x="106687" y="237237"/>
                  </a:cubicBezTo>
                  <a:cubicBezTo>
                    <a:pt x="106687" y="235274"/>
                    <a:pt x="106687" y="233311"/>
                    <a:pt x="106687" y="231347"/>
                  </a:cubicBezTo>
                  <a:cubicBezTo>
                    <a:pt x="93107" y="243521"/>
                    <a:pt x="75500" y="250164"/>
                    <a:pt x="57273" y="250001"/>
                  </a:cubicBezTo>
                  <a:cubicBezTo>
                    <a:pt x="25267" y="249771"/>
                    <a:pt x="-455" y="223656"/>
                    <a:pt x="-226" y="191651"/>
                  </a:cubicBezTo>
                  <a:cubicBezTo>
                    <a:pt x="-226" y="190048"/>
                    <a:pt x="-128" y="188444"/>
                    <a:pt x="3" y="186840"/>
                  </a:cubicBezTo>
                  <a:cubicBezTo>
                    <a:pt x="-1339" y="141287"/>
                    <a:pt x="33416" y="102769"/>
                    <a:pt x="78872" y="99464"/>
                  </a:cubicBezTo>
                  <a:cubicBezTo>
                    <a:pt x="93728" y="98221"/>
                    <a:pt x="108422" y="103489"/>
                    <a:pt x="119123" y="113863"/>
                  </a:cubicBezTo>
                  <a:lnTo>
                    <a:pt x="131231" y="15687"/>
                  </a:lnTo>
                  <a:cubicBezTo>
                    <a:pt x="132377" y="6589"/>
                    <a:pt x="140068" y="-250"/>
                    <a:pt x="149231" y="-349"/>
                  </a:cubicBezTo>
                  <a:cubicBezTo>
                    <a:pt x="157052" y="-349"/>
                    <a:pt x="163466" y="5902"/>
                    <a:pt x="163630" y="13724"/>
                  </a:cubicBezTo>
                  <a:cubicBezTo>
                    <a:pt x="163630" y="13724"/>
                    <a:pt x="163630" y="16014"/>
                    <a:pt x="136795" y="235274"/>
                  </a:cubicBezTo>
                  <a:close/>
                  <a:moveTo>
                    <a:pt x="78872" y="128589"/>
                  </a:moveTo>
                  <a:cubicBezTo>
                    <a:pt x="51316" y="130847"/>
                    <a:pt x="30797" y="155032"/>
                    <a:pt x="33055" y="182587"/>
                  </a:cubicBezTo>
                  <a:cubicBezTo>
                    <a:pt x="33055" y="182587"/>
                    <a:pt x="33055" y="182587"/>
                    <a:pt x="33055" y="182587"/>
                  </a:cubicBezTo>
                  <a:cubicBezTo>
                    <a:pt x="30896" y="201796"/>
                    <a:pt x="44706" y="219140"/>
                    <a:pt x="63916" y="221300"/>
                  </a:cubicBezTo>
                  <a:cubicBezTo>
                    <a:pt x="65192" y="221464"/>
                    <a:pt x="66468" y="221529"/>
                    <a:pt x="67744" y="221529"/>
                  </a:cubicBezTo>
                  <a:cubicBezTo>
                    <a:pt x="95168" y="219893"/>
                    <a:pt x="116047" y="196298"/>
                    <a:pt x="114411" y="168875"/>
                  </a:cubicBezTo>
                  <a:cubicBezTo>
                    <a:pt x="114378" y="168122"/>
                    <a:pt x="114312" y="167337"/>
                    <a:pt x="114214" y="166551"/>
                  </a:cubicBezTo>
                  <a:cubicBezTo>
                    <a:pt x="116014" y="147472"/>
                    <a:pt x="102040" y="130553"/>
                    <a:pt x="82962" y="128720"/>
                  </a:cubicBezTo>
                  <a:cubicBezTo>
                    <a:pt x="81620" y="128622"/>
                    <a:pt x="80246" y="128557"/>
                    <a:pt x="78872" y="12858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3" name="Frihandsfigur: Form 72">
              <a:extLst>
                <a:ext uri="{FF2B5EF4-FFF2-40B4-BE49-F238E27FC236}">
                  <a16:creationId xmlns:a16="http://schemas.microsoft.com/office/drawing/2014/main" id="{96BFFFD8-10C4-46C8-BB1B-BC51558B93F9}"/>
                </a:ext>
              </a:extLst>
            </p:cNvPr>
            <p:cNvSpPr/>
            <p:nvPr/>
          </p:nvSpPr>
          <p:spPr>
            <a:xfrm>
              <a:off x="4592898" y="4918512"/>
              <a:ext cx="148218" cy="154645"/>
            </a:xfrm>
            <a:custGeom>
              <a:avLst/>
              <a:gdLst>
                <a:gd name="connsiteX0" fmla="*/ 128179 w 148218"/>
                <a:gd name="connsiteY0" fmla="*/ 82677 h 154645"/>
                <a:gd name="connsiteX1" fmla="*/ 31966 w 148218"/>
                <a:gd name="connsiteY1" fmla="*/ 82677 h 154645"/>
                <a:gd name="connsiteX2" fmla="*/ 31966 w 148218"/>
                <a:gd name="connsiteY2" fmla="*/ 88567 h 154645"/>
                <a:gd name="connsiteX3" fmla="*/ 76472 w 148218"/>
                <a:gd name="connsiteY3" fmla="*/ 127838 h 154645"/>
                <a:gd name="connsiteX4" fmla="*/ 116069 w 148218"/>
                <a:gd name="connsiteY4" fmla="*/ 112130 h 154645"/>
                <a:gd name="connsiteX5" fmla="*/ 125233 w 148218"/>
                <a:gd name="connsiteY5" fmla="*/ 108530 h 154645"/>
                <a:gd name="connsiteX6" fmla="*/ 137635 w 148218"/>
                <a:gd name="connsiteY6" fmla="*/ 118970 h 154645"/>
                <a:gd name="connsiteX7" fmla="*/ 137668 w 148218"/>
                <a:gd name="connsiteY7" fmla="*/ 120311 h 154645"/>
                <a:gd name="connsiteX8" fmla="*/ 131450 w 148218"/>
                <a:gd name="connsiteY8" fmla="*/ 133074 h 154645"/>
                <a:gd name="connsiteX9" fmla="*/ 69600 w 148218"/>
                <a:gd name="connsiteY9" fmla="*/ 153691 h 154645"/>
                <a:gd name="connsiteX10" fmla="*/ 451 w 148218"/>
                <a:gd name="connsiteY10" fmla="*/ 101658 h 154645"/>
                <a:gd name="connsiteX11" fmla="*/ -105 w 148218"/>
                <a:gd name="connsiteY11" fmla="*/ 90858 h 154645"/>
                <a:gd name="connsiteX12" fmla="*/ 81577 w 148218"/>
                <a:gd name="connsiteY12" fmla="*/ 13 h 154645"/>
                <a:gd name="connsiteX13" fmla="*/ 85635 w 148218"/>
                <a:gd name="connsiteY13" fmla="*/ -118 h 154645"/>
                <a:gd name="connsiteX14" fmla="*/ 147748 w 148218"/>
                <a:gd name="connsiteY14" fmla="*/ 51850 h 154645"/>
                <a:gd name="connsiteX15" fmla="*/ 147813 w 148218"/>
                <a:gd name="connsiteY15" fmla="*/ 61406 h 154645"/>
                <a:gd name="connsiteX16" fmla="*/ 147813 w 148218"/>
                <a:gd name="connsiteY16" fmla="*/ 65005 h 154645"/>
                <a:gd name="connsiteX17" fmla="*/ 128179 w 148218"/>
                <a:gd name="connsiteY17" fmla="*/ 82677 h 154645"/>
                <a:gd name="connsiteX18" fmla="*/ 114761 w 148218"/>
                <a:gd name="connsiteY18" fmla="*/ 57479 h 154645"/>
                <a:gd name="connsiteX19" fmla="*/ 86814 w 148218"/>
                <a:gd name="connsiteY19" fmla="*/ 24753 h 154645"/>
                <a:gd name="connsiteX20" fmla="*/ 82036 w 148218"/>
                <a:gd name="connsiteY20" fmla="*/ 24753 h 154645"/>
                <a:gd name="connsiteX21" fmla="*/ 36547 w 148218"/>
                <a:gd name="connsiteY21" fmla="*/ 57479 h 154645"/>
                <a:gd name="connsiteX22" fmla="*/ 115415 w 148218"/>
                <a:gd name="connsiteY22" fmla="*/ 57479 h 154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218" h="154645">
                  <a:moveTo>
                    <a:pt x="128179" y="82677"/>
                  </a:moveTo>
                  <a:lnTo>
                    <a:pt x="31966" y="82677"/>
                  </a:lnTo>
                  <a:cubicBezTo>
                    <a:pt x="31835" y="84640"/>
                    <a:pt x="31835" y="86604"/>
                    <a:pt x="31966" y="88567"/>
                  </a:cubicBezTo>
                  <a:cubicBezTo>
                    <a:pt x="31966" y="116056"/>
                    <a:pt x="51601" y="127838"/>
                    <a:pt x="76472" y="127838"/>
                  </a:cubicBezTo>
                  <a:cubicBezTo>
                    <a:pt x="91068" y="127151"/>
                    <a:pt x="104976" y="121620"/>
                    <a:pt x="116069" y="112130"/>
                  </a:cubicBezTo>
                  <a:cubicBezTo>
                    <a:pt x="118688" y="110068"/>
                    <a:pt x="121895" y="108792"/>
                    <a:pt x="125233" y="108530"/>
                  </a:cubicBezTo>
                  <a:cubicBezTo>
                    <a:pt x="131549" y="107974"/>
                    <a:pt x="137079" y="112654"/>
                    <a:pt x="137635" y="118970"/>
                  </a:cubicBezTo>
                  <a:cubicBezTo>
                    <a:pt x="137668" y="119395"/>
                    <a:pt x="137668" y="119853"/>
                    <a:pt x="137668" y="120311"/>
                  </a:cubicBezTo>
                  <a:cubicBezTo>
                    <a:pt x="137930" y="125351"/>
                    <a:pt x="135574" y="130161"/>
                    <a:pt x="131450" y="133074"/>
                  </a:cubicBezTo>
                  <a:cubicBezTo>
                    <a:pt x="114172" y="147505"/>
                    <a:pt x="92082" y="154869"/>
                    <a:pt x="69600" y="153691"/>
                  </a:cubicBezTo>
                  <a:cubicBezTo>
                    <a:pt x="36122" y="158403"/>
                    <a:pt x="5164" y="135103"/>
                    <a:pt x="451" y="101658"/>
                  </a:cubicBezTo>
                  <a:cubicBezTo>
                    <a:pt x="-40" y="98058"/>
                    <a:pt x="-236" y="94459"/>
                    <a:pt x="-105" y="90858"/>
                  </a:cubicBezTo>
                  <a:cubicBezTo>
                    <a:pt x="-2625" y="43210"/>
                    <a:pt x="33930" y="2532"/>
                    <a:pt x="81577" y="13"/>
                  </a:cubicBezTo>
                  <a:cubicBezTo>
                    <a:pt x="82919" y="-85"/>
                    <a:pt x="84294" y="-118"/>
                    <a:pt x="85635" y="-118"/>
                  </a:cubicBezTo>
                  <a:cubicBezTo>
                    <a:pt x="117150" y="-2932"/>
                    <a:pt x="144967" y="20335"/>
                    <a:pt x="147748" y="51850"/>
                  </a:cubicBezTo>
                  <a:cubicBezTo>
                    <a:pt x="148043" y="55024"/>
                    <a:pt x="148075" y="58231"/>
                    <a:pt x="147813" y="61406"/>
                  </a:cubicBezTo>
                  <a:lnTo>
                    <a:pt x="147813" y="65005"/>
                  </a:lnTo>
                  <a:cubicBezTo>
                    <a:pt x="146668" y="75019"/>
                    <a:pt x="138258" y="82579"/>
                    <a:pt x="128179" y="82677"/>
                  </a:cubicBezTo>
                  <a:close/>
                  <a:moveTo>
                    <a:pt x="114761" y="57479"/>
                  </a:moveTo>
                  <a:cubicBezTo>
                    <a:pt x="116069" y="40724"/>
                    <a:pt x="103569" y="26062"/>
                    <a:pt x="86814" y="24753"/>
                  </a:cubicBezTo>
                  <a:cubicBezTo>
                    <a:pt x="85210" y="24623"/>
                    <a:pt x="83639" y="24623"/>
                    <a:pt x="82036" y="24753"/>
                  </a:cubicBezTo>
                  <a:cubicBezTo>
                    <a:pt x="61320" y="24492"/>
                    <a:pt x="42863" y="37746"/>
                    <a:pt x="36547" y="57479"/>
                  </a:cubicBezTo>
                  <a:lnTo>
                    <a:pt x="115415" y="57479"/>
                  </a:ln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4" name="Frihandsfigur: Form 73">
              <a:extLst>
                <a:ext uri="{FF2B5EF4-FFF2-40B4-BE49-F238E27FC236}">
                  <a16:creationId xmlns:a16="http://schemas.microsoft.com/office/drawing/2014/main" id="{89202679-DBE0-4797-B98F-430ED4FDF639}"/>
                </a:ext>
              </a:extLst>
            </p:cNvPr>
            <p:cNvSpPr/>
            <p:nvPr/>
          </p:nvSpPr>
          <p:spPr>
            <a:xfrm>
              <a:off x="3211358" y="5166795"/>
              <a:ext cx="60868" cy="249386"/>
            </a:xfrm>
            <a:custGeom>
              <a:avLst/>
              <a:gdLst>
                <a:gd name="connsiteX0" fmla="*/ 34133 w 60868"/>
                <a:gd name="connsiteY0" fmla="*/ 230697 h 249386"/>
                <a:gd name="connsiteX1" fmla="*/ 15153 w 60868"/>
                <a:gd name="connsiteY1" fmla="*/ 249024 h 249386"/>
                <a:gd name="connsiteX2" fmla="*/ -228 w 60868"/>
                <a:gd name="connsiteY2" fmla="*/ 234984 h 249386"/>
                <a:gd name="connsiteX3" fmla="*/ -228 w 60868"/>
                <a:gd name="connsiteY3" fmla="*/ 233969 h 249386"/>
                <a:gd name="connsiteX4" fmla="*/ -228 w 60868"/>
                <a:gd name="connsiteY4" fmla="*/ 232006 h 249386"/>
                <a:gd name="connsiteX5" fmla="*/ 26280 w 60868"/>
                <a:gd name="connsiteY5" fmla="*/ 17983 h 249386"/>
                <a:gd name="connsiteX6" fmla="*/ 45915 w 60868"/>
                <a:gd name="connsiteY6" fmla="*/ -344 h 249386"/>
                <a:gd name="connsiteX7" fmla="*/ 60641 w 60868"/>
                <a:gd name="connsiteY7" fmla="*/ 13728 h 249386"/>
                <a:gd name="connsiteX8" fmla="*/ 60641 w 60868"/>
                <a:gd name="connsiteY8" fmla="*/ 14055 h 249386"/>
                <a:gd name="connsiteX9" fmla="*/ 60641 w 60868"/>
                <a:gd name="connsiteY9" fmla="*/ 16674 h 2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868" h="249386">
                  <a:moveTo>
                    <a:pt x="34133" y="230697"/>
                  </a:moveTo>
                  <a:cubicBezTo>
                    <a:pt x="33185" y="240645"/>
                    <a:pt x="25134" y="248434"/>
                    <a:pt x="15153" y="249024"/>
                  </a:cubicBezTo>
                  <a:cubicBezTo>
                    <a:pt x="7037" y="249383"/>
                    <a:pt x="132" y="243100"/>
                    <a:pt x="-228" y="234984"/>
                  </a:cubicBezTo>
                  <a:cubicBezTo>
                    <a:pt x="-228" y="234624"/>
                    <a:pt x="-228" y="234297"/>
                    <a:pt x="-228" y="233969"/>
                  </a:cubicBezTo>
                  <a:lnTo>
                    <a:pt x="-228" y="232006"/>
                  </a:lnTo>
                  <a:cubicBezTo>
                    <a:pt x="-228" y="232006"/>
                    <a:pt x="-228" y="232006"/>
                    <a:pt x="26280" y="17983"/>
                  </a:cubicBezTo>
                  <a:cubicBezTo>
                    <a:pt x="27392" y="7870"/>
                    <a:pt x="35737" y="81"/>
                    <a:pt x="45915" y="-344"/>
                  </a:cubicBezTo>
                  <a:cubicBezTo>
                    <a:pt x="53868" y="-540"/>
                    <a:pt x="60445" y="5776"/>
                    <a:pt x="60641" y="13728"/>
                  </a:cubicBezTo>
                  <a:cubicBezTo>
                    <a:pt x="60641" y="13826"/>
                    <a:pt x="60641" y="13957"/>
                    <a:pt x="60641" y="14055"/>
                  </a:cubicBezTo>
                  <a:lnTo>
                    <a:pt x="60641" y="16674"/>
                  </a:ln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5" name="Frihandsfigur: Form 74">
              <a:extLst>
                <a:ext uri="{FF2B5EF4-FFF2-40B4-BE49-F238E27FC236}">
                  <a16:creationId xmlns:a16="http://schemas.microsoft.com/office/drawing/2014/main" id="{2B39ADF8-69F5-4DB2-B2B3-438A9104A5A3}"/>
                </a:ext>
              </a:extLst>
            </p:cNvPr>
            <p:cNvSpPr/>
            <p:nvPr/>
          </p:nvSpPr>
          <p:spPr>
            <a:xfrm>
              <a:off x="3297425" y="5264317"/>
              <a:ext cx="141700" cy="152181"/>
            </a:xfrm>
            <a:custGeom>
              <a:avLst/>
              <a:gdLst>
                <a:gd name="connsiteX0" fmla="*/ 141146 w 141700"/>
                <a:gd name="connsiteY0" fmla="*/ 51035 h 152181"/>
                <a:gd name="connsiteX1" fmla="*/ 130673 w 141700"/>
                <a:gd name="connsiteY1" fmla="*/ 135793 h 152181"/>
                <a:gd name="connsiteX2" fmla="*/ 112674 w 141700"/>
                <a:gd name="connsiteY2" fmla="*/ 151828 h 152181"/>
                <a:gd name="connsiteX3" fmla="*/ 98276 w 141700"/>
                <a:gd name="connsiteY3" fmla="*/ 138084 h 152181"/>
                <a:gd name="connsiteX4" fmla="*/ 98276 w 141700"/>
                <a:gd name="connsiteY4" fmla="*/ 137429 h 152181"/>
                <a:gd name="connsiteX5" fmla="*/ 98276 w 141700"/>
                <a:gd name="connsiteY5" fmla="*/ 135793 h 152181"/>
                <a:gd name="connsiteX6" fmla="*/ 107439 w 141700"/>
                <a:gd name="connsiteY6" fmla="*/ 60198 h 152181"/>
                <a:gd name="connsiteX7" fmla="*/ 107439 w 141700"/>
                <a:gd name="connsiteY7" fmla="*/ 53652 h 152181"/>
                <a:gd name="connsiteX8" fmla="*/ 87148 w 141700"/>
                <a:gd name="connsiteY8" fmla="*/ 29011 h 152181"/>
                <a:gd name="connsiteX9" fmla="*/ 81913 w 141700"/>
                <a:gd name="connsiteY9" fmla="*/ 29108 h 152181"/>
                <a:gd name="connsiteX10" fmla="*/ 41006 w 141700"/>
                <a:gd name="connsiteY10" fmla="*/ 63471 h 152181"/>
                <a:gd name="connsiteX11" fmla="*/ 32170 w 141700"/>
                <a:gd name="connsiteY11" fmla="*/ 136121 h 152181"/>
                <a:gd name="connsiteX12" fmla="*/ 13844 w 141700"/>
                <a:gd name="connsiteY12" fmla="*/ 151828 h 152181"/>
                <a:gd name="connsiteX13" fmla="*/ -228 w 141700"/>
                <a:gd name="connsiteY13" fmla="*/ 137757 h 152181"/>
                <a:gd name="connsiteX14" fmla="*/ -228 w 141700"/>
                <a:gd name="connsiteY14" fmla="*/ 136121 h 152181"/>
                <a:gd name="connsiteX15" fmla="*/ 14498 w 141700"/>
                <a:gd name="connsiteY15" fmla="*/ 15691 h 152181"/>
                <a:gd name="connsiteX16" fmla="*/ 32497 w 141700"/>
                <a:gd name="connsiteY16" fmla="*/ -344 h 152181"/>
                <a:gd name="connsiteX17" fmla="*/ 47223 w 141700"/>
                <a:gd name="connsiteY17" fmla="*/ 13401 h 152181"/>
                <a:gd name="connsiteX18" fmla="*/ 47223 w 141700"/>
                <a:gd name="connsiteY18" fmla="*/ 18964 h 152181"/>
                <a:gd name="connsiteX19" fmla="*/ 95985 w 141700"/>
                <a:gd name="connsiteY19" fmla="*/ -344 h 152181"/>
                <a:gd name="connsiteX20" fmla="*/ 141472 w 141700"/>
                <a:gd name="connsiteY20" fmla="*/ 41217 h 152181"/>
                <a:gd name="connsiteX21" fmla="*/ 141146 w 141700"/>
                <a:gd name="connsiteY21" fmla="*/ 51035 h 15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700" h="152181">
                  <a:moveTo>
                    <a:pt x="141146" y="51035"/>
                  </a:moveTo>
                  <a:lnTo>
                    <a:pt x="130673" y="135793"/>
                  </a:lnTo>
                  <a:cubicBezTo>
                    <a:pt x="129397" y="144826"/>
                    <a:pt x="121772" y="151600"/>
                    <a:pt x="112674" y="151828"/>
                  </a:cubicBezTo>
                  <a:cubicBezTo>
                    <a:pt x="104918" y="152025"/>
                    <a:pt x="98471" y="145873"/>
                    <a:pt x="98276" y="138084"/>
                  </a:cubicBezTo>
                  <a:cubicBezTo>
                    <a:pt x="98276" y="137855"/>
                    <a:pt x="98276" y="137659"/>
                    <a:pt x="98276" y="137429"/>
                  </a:cubicBezTo>
                  <a:lnTo>
                    <a:pt x="98276" y="135793"/>
                  </a:lnTo>
                  <a:lnTo>
                    <a:pt x="107439" y="60198"/>
                  </a:lnTo>
                  <a:cubicBezTo>
                    <a:pt x="107602" y="58005"/>
                    <a:pt x="107602" y="55846"/>
                    <a:pt x="107439" y="53652"/>
                  </a:cubicBezTo>
                  <a:cubicBezTo>
                    <a:pt x="108649" y="41250"/>
                    <a:pt x="99551" y="30189"/>
                    <a:pt x="87148" y="29011"/>
                  </a:cubicBezTo>
                  <a:cubicBezTo>
                    <a:pt x="85381" y="28847"/>
                    <a:pt x="83647" y="28880"/>
                    <a:pt x="81913" y="29108"/>
                  </a:cubicBezTo>
                  <a:cubicBezTo>
                    <a:pt x="61165" y="27407"/>
                    <a:pt x="42904" y="42723"/>
                    <a:pt x="41006" y="63471"/>
                  </a:cubicBezTo>
                  <a:lnTo>
                    <a:pt x="32170" y="136121"/>
                  </a:lnTo>
                  <a:cubicBezTo>
                    <a:pt x="30501" y="144989"/>
                    <a:pt x="22876" y="151534"/>
                    <a:pt x="13844" y="151828"/>
                  </a:cubicBezTo>
                  <a:cubicBezTo>
                    <a:pt x="6088" y="151828"/>
                    <a:pt x="-228" y="145546"/>
                    <a:pt x="-228" y="137757"/>
                  </a:cubicBezTo>
                  <a:lnTo>
                    <a:pt x="-228" y="136121"/>
                  </a:lnTo>
                  <a:lnTo>
                    <a:pt x="14498" y="15691"/>
                  </a:lnTo>
                  <a:cubicBezTo>
                    <a:pt x="15905" y="6725"/>
                    <a:pt x="23432" y="16"/>
                    <a:pt x="32497" y="-344"/>
                  </a:cubicBezTo>
                  <a:cubicBezTo>
                    <a:pt x="40318" y="-540"/>
                    <a:pt x="46864" y="5579"/>
                    <a:pt x="47223" y="13401"/>
                  </a:cubicBezTo>
                  <a:cubicBezTo>
                    <a:pt x="47355" y="15265"/>
                    <a:pt x="47355" y="17098"/>
                    <a:pt x="47223" y="18964"/>
                  </a:cubicBezTo>
                  <a:cubicBezTo>
                    <a:pt x="60412" y="6528"/>
                    <a:pt x="77854" y="-377"/>
                    <a:pt x="95985" y="-344"/>
                  </a:cubicBezTo>
                  <a:cubicBezTo>
                    <a:pt x="122820" y="-344"/>
                    <a:pt x="141472" y="12746"/>
                    <a:pt x="141472" y="41217"/>
                  </a:cubicBezTo>
                  <a:cubicBezTo>
                    <a:pt x="141472" y="44489"/>
                    <a:pt x="141472" y="47762"/>
                    <a:pt x="141146" y="51035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6" name="Frihandsfigur: Form 75">
              <a:extLst>
                <a:ext uri="{FF2B5EF4-FFF2-40B4-BE49-F238E27FC236}">
                  <a16:creationId xmlns:a16="http://schemas.microsoft.com/office/drawing/2014/main" id="{057CBE17-38C9-46FA-BFCE-86877B672F78}"/>
                </a:ext>
              </a:extLst>
            </p:cNvPr>
            <p:cNvSpPr/>
            <p:nvPr/>
          </p:nvSpPr>
          <p:spPr>
            <a:xfrm>
              <a:off x="3465307" y="5194779"/>
              <a:ext cx="62179" cy="221720"/>
            </a:xfrm>
            <a:custGeom>
              <a:avLst/>
              <a:gdLst>
                <a:gd name="connsiteX0" fmla="*/ 32170 w 62179"/>
                <a:gd name="connsiteY0" fmla="*/ 205004 h 221720"/>
                <a:gd name="connsiteX1" fmla="*/ 14171 w 62179"/>
                <a:gd name="connsiteY1" fmla="*/ 221367 h 221720"/>
                <a:gd name="connsiteX2" fmla="*/ -228 w 62179"/>
                <a:gd name="connsiteY2" fmla="*/ 207623 h 221720"/>
                <a:gd name="connsiteX3" fmla="*/ -228 w 62179"/>
                <a:gd name="connsiteY3" fmla="*/ 206968 h 221720"/>
                <a:gd name="connsiteX4" fmla="*/ 14825 w 62179"/>
                <a:gd name="connsiteY4" fmla="*/ 85229 h 221720"/>
                <a:gd name="connsiteX5" fmla="*/ 32497 w 62179"/>
                <a:gd name="connsiteY5" fmla="*/ 69194 h 221720"/>
                <a:gd name="connsiteX6" fmla="*/ 47551 w 62179"/>
                <a:gd name="connsiteY6" fmla="*/ 82906 h 221720"/>
                <a:gd name="connsiteX7" fmla="*/ 47551 w 62179"/>
                <a:gd name="connsiteY7" fmla="*/ 82939 h 221720"/>
                <a:gd name="connsiteX8" fmla="*/ 32170 w 62179"/>
                <a:gd name="connsiteY8" fmla="*/ 205004 h 221720"/>
                <a:gd name="connsiteX9" fmla="*/ 38388 w 62179"/>
                <a:gd name="connsiteY9" fmla="*/ 41378 h 221720"/>
                <a:gd name="connsiteX10" fmla="*/ 20225 w 62179"/>
                <a:gd name="connsiteY10" fmla="*/ 17979 h 221720"/>
                <a:gd name="connsiteX11" fmla="*/ 38388 w 62179"/>
                <a:gd name="connsiteY11" fmla="*/ -183 h 221720"/>
                <a:gd name="connsiteX12" fmla="*/ 61786 w 62179"/>
                <a:gd name="connsiteY12" fmla="*/ 17979 h 221720"/>
                <a:gd name="connsiteX13" fmla="*/ 43624 w 62179"/>
                <a:gd name="connsiteY13" fmla="*/ 41378 h 221720"/>
                <a:gd name="connsiteX14" fmla="*/ 38388 w 62179"/>
                <a:gd name="connsiteY14" fmla="*/ 41378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179" h="221720">
                  <a:moveTo>
                    <a:pt x="32170" y="205004"/>
                  </a:moveTo>
                  <a:cubicBezTo>
                    <a:pt x="30665" y="213972"/>
                    <a:pt x="23236" y="220746"/>
                    <a:pt x="14171" y="221367"/>
                  </a:cubicBezTo>
                  <a:cubicBezTo>
                    <a:pt x="6415" y="221564"/>
                    <a:pt x="-32" y="215412"/>
                    <a:pt x="-228" y="207623"/>
                  </a:cubicBezTo>
                  <a:cubicBezTo>
                    <a:pt x="-228" y="207393"/>
                    <a:pt x="-228" y="207197"/>
                    <a:pt x="-228" y="206968"/>
                  </a:cubicBezTo>
                  <a:cubicBezTo>
                    <a:pt x="-228" y="206968"/>
                    <a:pt x="-228" y="206968"/>
                    <a:pt x="14825" y="85229"/>
                  </a:cubicBezTo>
                  <a:cubicBezTo>
                    <a:pt x="15938" y="76263"/>
                    <a:pt x="23465" y="69456"/>
                    <a:pt x="32497" y="69194"/>
                  </a:cubicBezTo>
                  <a:cubicBezTo>
                    <a:pt x="40449" y="68835"/>
                    <a:pt x="47191" y="74954"/>
                    <a:pt x="47551" y="82906"/>
                  </a:cubicBezTo>
                  <a:cubicBezTo>
                    <a:pt x="47551" y="82906"/>
                    <a:pt x="47551" y="82939"/>
                    <a:pt x="47551" y="82939"/>
                  </a:cubicBezTo>
                  <a:cubicBezTo>
                    <a:pt x="47551" y="82939"/>
                    <a:pt x="45915" y="84575"/>
                    <a:pt x="32170" y="205004"/>
                  </a:cubicBezTo>
                  <a:close/>
                  <a:moveTo>
                    <a:pt x="38388" y="41378"/>
                  </a:moveTo>
                  <a:cubicBezTo>
                    <a:pt x="26901" y="39938"/>
                    <a:pt x="18785" y="29466"/>
                    <a:pt x="20225" y="17979"/>
                  </a:cubicBezTo>
                  <a:cubicBezTo>
                    <a:pt x="21403" y="8488"/>
                    <a:pt x="28897" y="995"/>
                    <a:pt x="38388" y="-183"/>
                  </a:cubicBezTo>
                  <a:cubicBezTo>
                    <a:pt x="49874" y="-1623"/>
                    <a:pt x="60346" y="6493"/>
                    <a:pt x="61786" y="17979"/>
                  </a:cubicBezTo>
                  <a:cubicBezTo>
                    <a:pt x="63226" y="29466"/>
                    <a:pt x="55078" y="39938"/>
                    <a:pt x="43624" y="41378"/>
                  </a:cubicBezTo>
                  <a:cubicBezTo>
                    <a:pt x="41889" y="41607"/>
                    <a:pt x="40123" y="41607"/>
                    <a:pt x="38388" y="4137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7" name="Frihandsfigur: Form 76">
              <a:extLst>
                <a:ext uri="{FF2B5EF4-FFF2-40B4-BE49-F238E27FC236}">
                  <a16:creationId xmlns:a16="http://schemas.microsoft.com/office/drawing/2014/main" id="{67839BEC-8F57-4860-A36E-A79940659D5B}"/>
                </a:ext>
              </a:extLst>
            </p:cNvPr>
            <p:cNvSpPr/>
            <p:nvPr/>
          </p:nvSpPr>
          <p:spPr>
            <a:xfrm>
              <a:off x="3530207" y="5206066"/>
              <a:ext cx="101997" cy="209260"/>
            </a:xfrm>
            <a:custGeom>
              <a:avLst/>
              <a:gdLst>
                <a:gd name="connsiteX0" fmla="*/ 100134 w 101997"/>
                <a:gd name="connsiteY0" fmla="*/ 79506 h 209260"/>
                <a:gd name="connsiteX1" fmla="*/ 84425 w 101997"/>
                <a:gd name="connsiteY1" fmla="*/ 93577 h 209260"/>
                <a:gd name="connsiteX2" fmla="*/ 60536 w 101997"/>
                <a:gd name="connsiteY2" fmla="*/ 93577 h 209260"/>
                <a:gd name="connsiteX3" fmla="*/ 53991 w 101997"/>
                <a:gd name="connsiteY3" fmla="*/ 148556 h 209260"/>
                <a:gd name="connsiteX4" fmla="*/ 53991 w 101997"/>
                <a:gd name="connsiteY4" fmla="*/ 156737 h 209260"/>
                <a:gd name="connsiteX5" fmla="*/ 72645 w 101997"/>
                <a:gd name="connsiteY5" fmla="*/ 179973 h 209260"/>
                <a:gd name="connsiteX6" fmla="*/ 78208 w 101997"/>
                <a:gd name="connsiteY6" fmla="*/ 179973 h 209260"/>
                <a:gd name="connsiteX7" fmla="*/ 90971 w 101997"/>
                <a:gd name="connsiteY7" fmla="*/ 191394 h 209260"/>
                <a:gd name="connsiteX8" fmla="*/ 90971 w 101997"/>
                <a:gd name="connsiteY8" fmla="*/ 192409 h 209260"/>
                <a:gd name="connsiteX9" fmla="*/ 63809 w 101997"/>
                <a:gd name="connsiteY9" fmla="*/ 208771 h 209260"/>
                <a:gd name="connsiteX10" fmla="*/ 20709 w 101997"/>
                <a:gd name="connsiteY10" fmla="*/ 172282 h 209260"/>
                <a:gd name="connsiteX11" fmla="*/ 20612 w 101997"/>
                <a:gd name="connsiteY11" fmla="*/ 167209 h 209260"/>
                <a:gd name="connsiteX12" fmla="*/ 20612 w 101997"/>
                <a:gd name="connsiteY12" fmla="*/ 154119 h 209260"/>
                <a:gd name="connsiteX13" fmla="*/ 28138 w 101997"/>
                <a:gd name="connsiteY13" fmla="*/ 93577 h 209260"/>
                <a:gd name="connsiteX14" fmla="*/ 10793 w 101997"/>
                <a:gd name="connsiteY14" fmla="*/ 93577 h 209260"/>
                <a:gd name="connsiteX15" fmla="*/ -202 w 101997"/>
                <a:gd name="connsiteY15" fmla="*/ 81077 h 209260"/>
                <a:gd name="connsiteX16" fmla="*/ -6 w 101997"/>
                <a:gd name="connsiteY16" fmla="*/ 79506 h 209260"/>
                <a:gd name="connsiteX17" fmla="*/ -6 w 101997"/>
                <a:gd name="connsiteY17" fmla="*/ 79506 h 209260"/>
                <a:gd name="connsiteX18" fmla="*/ 32720 w 101997"/>
                <a:gd name="connsiteY18" fmla="*/ 65761 h 209260"/>
                <a:gd name="connsiteX19" fmla="*/ 38610 w 101997"/>
                <a:gd name="connsiteY19" fmla="*/ 15691 h 209260"/>
                <a:gd name="connsiteX20" fmla="*/ 56936 w 101997"/>
                <a:gd name="connsiteY20" fmla="*/ -344 h 209260"/>
                <a:gd name="connsiteX21" fmla="*/ 71335 w 101997"/>
                <a:gd name="connsiteY21" fmla="*/ 13401 h 209260"/>
                <a:gd name="connsiteX22" fmla="*/ 71335 w 101997"/>
                <a:gd name="connsiteY22" fmla="*/ 13401 h 209260"/>
                <a:gd name="connsiteX23" fmla="*/ 71335 w 101997"/>
                <a:gd name="connsiteY23" fmla="*/ 15691 h 209260"/>
                <a:gd name="connsiteX24" fmla="*/ 65445 w 101997"/>
                <a:gd name="connsiteY24" fmla="*/ 65761 h 209260"/>
                <a:gd name="connsiteX25" fmla="*/ 89007 w 101997"/>
                <a:gd name="connsiteY25" fmla="*/ 65761 h 209260"/>
                <a:gd name="connsiteX26" fmla="*/ 101770 w 101997"/>
                <a:gd name="connsiteY26" fmla="*/ 78196 h 209260"/>
                <a:gd name="connsiteX27" fmla="*/ 100134 w 101997"/>
                <a:gd name="connsiteY27" fmla="*/ 79506 h 209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997" h="209260">
                  <a:moveTo>
                    <a:pt x="100134" y="79506"/>
                  </a:moveTo>
                  <a:cubicBezTo>
                    <a:pt x="99021" y="87392"/>
                    <a:pt x="92378" y="93349"/>
                    <a:pt x="84425" y="93577"/>
                  </a:cubicBezTo>
                  <a:lnTo>
                    <a:pt x="60536" y="93577"/>
                  </a:lnTo>
                  <a:lnTo>
                    <a:pt x="53991" y="148556"/>
                  </a:lnTo>
                  <a:cubicBezTo>
                    <a:pt x="53827" y="151272"/>
                    <a:pt x="53827" y="154022"/>
                    <a:pt x="53991" y="156737"/>
                  </a:cubicBezTo>
                  <a:cubicBezTo>
                    <a:pt x="53991" y="169500"/>
                    <a:pt x="58573" y="179973"/>
                    <a:pt x="72645" y="179973"/>
                  </a:cubicBezTo>
                  <a:lnTo>
                    <a:pt x="78208" y="179973"/>
                  </a:lnTo>
                  <a:cubicBezTo>
                    <a:pt x="84884" y="179612"/>
                    <a:pt x="90578" y="184718"/>
                    <a:pt x="90971" y="191394"/>
                  </a:cubicBezTo>
                  <a:cubicBezTo>
                    <a:pt x="90971" y="191753"/>
                    <a:pt x="90971" y="192081"/>
                    <a:pt x="90971" y="192409"/>
                  </a:cubicBezTo>
                  <a:cubicBezTo>
                    <a:pt x="90971" y="206153"/>
                    <a:pt x="74936" y="208771"/>
                    <a:pt x="63809" y="208771"/>
                  </a:cubicBezTo>
                  <a:cubicBezTo>
                    <a:pt x="41850" y="210604"/>
                    <a:pt x="22542" y="194273"/>
                    <a:pt x="20709" y="172282"/>
                  </a:cubicBezTo>
                  <a:cubicBezTo>
                    <a:pt x="20579" y="170613"/>
                    <a:pt x="20546" y="168911"/>
                    <a:pt x="20612" y="167209"/>
                  </a:cubicBezTo>
                  <a:cubicBezTo>
                    <a:pt x="20612" y="162955"/>
                    <a:pt x="20612" y="158046"/>
                    <a:pt x="20612" y="154119"/>
                  </a:cubicBezTo>
                  <a:lnTo>
                    <a:pt x="28138" y="93577"/>
                  </a:lnTo>
                  <a:lnTo>
                    <a:pt x="10793" y="93577"/>
                  </a:lnTo>
                  <a:cubicBezTo>
                    <a:pt x="4314" y="93152"/>
                    <a:pt x="-628" y="87556"/>
                    <a:pt x="-202" y="81077"/>
                  </a:cubicBezTo>
                  <a:cubicBezTo>
                    <a:pt x="-169" y="80553"/>
                    <a:pt x="-103" y="80029"/>
                    <a:pt x="-6" y="79506"/>
                  </a:cubicBezTo>
                  <a:lnTo>
                    <a:pt x="-6" y="79506"/>
                  </a:lnTo>
                  <a:cubicBezTo>
                    <a:pt x="2285" y="62489"/>
                    <a:pt x="20612" y="65761"/>
                    <a:pt x="32720" y="65761"/>
                  </a:cubicBezTo>
                  <a:lnTo>
                    <a:pt x="38610" y="15691"/>
                  </a:lnTo>
                  <a:cubicBezTo>
                    <a:pt x="40017" y="6627"/>
                    <a:pt x="47741" y="-147"/>
                    <a:pt x="56936" y="-344"/>
                  </a:cubicBezTo>
                  <a:cubicBezTo>
                    <a:pt x="64692" y="-541"/>
                    <a:pt x="71140" y="5612"/>
                    <a:pt x="71335" y="13401"/>
                  </a:cubicBezTo>
                  <a:cubicBezTo>
                    <a:pt x="71335" y="13401"/>
                    <a:pt x="71335" y="13401"/>
                    <a:pt x="71335" y="13401"/>
                  </a:cubicBezTo>
                  <a:cubicBezTo>
                    <a:pt x="71335" y="13401"/>
                    <a:pt x="71335" y="15037"/>
                    <a:pt x="71335" y="15691"/>
                  </a:cubicBezTo>
                  <a:lnTo>
                    <a:pt x="65445" y="65761"/>
                  </a:lnTo>
                  <a:lnTo>
                    <a:pt x="89007" y="65761"/>
                  </a:lnTo>
                  <a:cubicBezTo>
                    <a:pt x="95945" y="65761"/>
                    <a:pt x="101607" y="71291"/>
                    <a:pt x="101770" y="78196"/>
                  </a:cubicBezTo>
                  <a:cubicBezTo>
                    <a:pt x="101770" y="78196"/>
                    <a:pt x="100134" y="79506"/>
                    <a:pt x="100134" y="7950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8" name="Frihandsfigur: Form 77">
              <a:extLst>
                <a:ext uri="{FF2B5EF4-FFF2-40B4-BE49-F238E27FC236}">
                  <a16:creationId xmlns:a16="http://schemas.microsoft.com/office/drawing/2014/main" id="{6F23F805-0331-4F14-B6A0-7D898695AF52}"/>
                </a:ext>
              </a:extLst>
            </p:cNvPr>
            <p:cNvSpPr/>
            <p:nvPr/>
          </p:nvSpPr>
          <p:spPr>
            <a:xfrm>
              <a:off x="3643332" y="5194617"/>
              <a:ext cx="59559" cy="221877"/>
            </a:xfrm>
            <a:custGeom>
              <a:avLst/>
              <a:gdLst>
                <a:gd name="connsiteX0" fmla="*/ 32170 w 59559"/>
                <a:gd name="connsiteY0" fmla="*/ 205166 h 221877"/>
                <a:gd name="connsiteX1" fmla="*/ 13844 w 59559"/>
                <a:gd name="connsiteY1" fmla="*/ 221529 h 221877"/>
                <a:gd name="connsiteX2" fmla="*/ -228 w 59559"/>
                <a:gd name="connsiteY2" fmla="*/ 207457 h 221877"/>
                <a:gd name="connsiteX3" fmla="*/ -228 w 59559"/>
                <a:gd name="connsiteY3" fmla="*/ 207130 h 221877"/>
                <a:gd name="connsiteX4" fmla="*/ 14498 w 59559"/>
                <a:gd name="connsiteY4" fmla="*/ 85391 h 221877"/>
                <a:gd name="connsiteX5" fmla="*/ 32497 w 59559"/>
                <a:gd name="connsiteY5" fmla="*/ 69356 h 221877"/>
                <a:gd name="connsiteX6" fmla="*/ 47223 w 59559"/>
                <a:gd name="connsiteY6" fmla="*/ 83101 h 221877"/>
                <a:gd name="connsiteX7" fmla="*/ 32170 w 59559"/>
                <a:gd name="connsiteY7" fmla="*/ 205166 h 221877"/>
                <a:gd name="connsiteX8" fmla="*/ 38388 w 59559"/>
                <a:gd name="connsiteY8" fmla="*/ 41540 h 221877"/>
                <a:gd name="connsiteX9" fmla="*/ 17443 w 59559"/>
                <a:gd name="connsiteY9" fmla="*/ 20596 h 221877"/>
                <a:gd name="connsiteX10" fmla="*/ 38388 w 59559"/>
                <a:gd name="connsiteY10" fmla="*/ -349 h 221877"/>
                <a:gd name="connsiteX11" fmla="*/ 59331 w 59559"/>
                <a:gd name="connsiteY11" fmla="*/ 20596 h 221877"/>
                <a:gd name="connsiteX12" fmla="*/ 59331 w 59559"/>
                <a:gd name="connsiteY12" fmla="*/ 20923 h 221877"/>
                <a:gd name="connsiteX13" fmla="*/ 38388 w 59559"/>
                <a:gd name="connsiteY13" fmla="*/ 40886 h 22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559" h="221877">
                  <a:moveTo>
                    <a:pt x="32170" y="205166"/>
                  </a:moveTo>
                  <a:cubicBezTo>
                    <a:pt x="30665" y="214231"/>
                    <a:pt x="23040" y="221039"/>
                    <a:pt x="13844" y="221529"/>
                  </a:cubicBezTo>
                  <a:cubicBezTo>
                    <a:pt x="6088" y="221529"/>
                    <a:pt x="-228" y="215246"/>
                    <a:pt x="-228" y="207457"/>
                  </a:cubicBezTo>
                  <a:cubicBezTo>
                    <a:pt x="-228" y="207359"/>
                    <a:pt x="-228" y="207229"/>
                    <a:pt x="-228" y="207130"/>
                  </a:cubicBezTo>
                  <a:cubicBezTo>
                    <a:pt x="-228" y="207130"/>
                    <a:pt x="-228" y="207130"/>
                    <a:pt x="14498" y="85391"/>
                  </a:cubicBezTo>
                  <a:cubicBezTo>
                    <a:pt x="15774" y="76359"/>
                    <a:pt x="23399" y="69585"/>
                    <a:pt x="32497" y="69356"/>
                  </a:cubicBezTo>
                  <a:cubicBezTo>
                    <a:pt x="40318" y="69161"/>
                    <a:pt x="46864" y="75280"/>
                    <a:pt x="47223" y="83101"/>
                  </a:cubicBezTo>
                  <a:cubicBezTo>
                    <a:pt x="47223" y="83101"/>
                    <a:pt x="47223" y="84737"/>
                    <a:pt x="32170" y="205166"/>
                  </a:cubicBezTo>
                  <a:close/>
                  <a:moveTo>
                    <a:pt x="38388" y="41540"/>
                  </a:moveTo>
                  <a:cubicBezTo>
                    <a:pt x="26836" y="41540"/>
                    <a:pt x="17443" y="32148"/>
                    <a:pt x="17443" y="20596"/>
                  </a:cubicBezTo>
                  <a:cubicBezTo>
                    <a:pt x="17443" y="9011"/>
                    <a:pt x="26836" y="-349"/>
                    <a:pt x="38388" y="-349"/>
                  </a:cubicBezTo>
                  <a:cubicBezTo>
                    <a:pt x="49973" y="-349"/>
                    <a:pt x="59331" y="9044"/>
                    <a:pt x="59331" y="20596"/>
                  </a:cubicBezTo>
                  <a:cubicBezTo>
                    <a:pt x="59331" y="20694"/>
                    <a:pt x="59331" y="20825"/>
                    <a:pt x="59331" y="20923"/>
                  </a:cubicBezTo>
                  <a:cubicBezTo>
                    <a:pt x="58972" y="32181"/>
                    <a:pt x="49645" y="41082"/>
                    <a:pt x="38388" y="4088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79" name="Frihandsfigur: Form 78">
              <a:extLst>
                <a:ext uri="{FF2B5EF4-FFF2-40B4-BE49-F238E27FC236}">
                  <a16:creationId xmlns:a16="http://schemas.microsoft.com/office/drawing/2014/main" id="{FF669EA5-230C-4EE8-8411-DDABB893D3CC}"/>
                </a:ext>
              </a:extLst>
            </p:cNvPr>
            <p:cNvSpPr/>
            <p:nvPr/>
          </p:nvSpPr>
          <p:spPr>
            <a:xfrm>
              <a:off x="3709110" y="5264627"/>
              <a:ext cx="141046" cy="152165"/>
            </a:xfrm>
            <a:custGeom>
              <a:avLst/>
              <a:gdLst>
                <a:gd name="connsiteX0" fmla="*/ 140164 w 141046"/>
                <a:gd name="connsiteY0" fmla="*/ 46470 h 152165"/>
                <a:gd name="connsiteX1" fmla="*/ 129038 w 141046"/>
                <a:gd name="connsiteY1" fmla="*/ 135483 h 152165"/>
                <a:gd name="connsiteX2" fmla="*/ 111038 w 141046"/>
                <a:gd name="connsiteY2" fmla="*/ 151518 h 152165"/>
                <a:gd name="connsiteX3" fmla="*/ 96966 w 141046"/>
                <a:gd name="connsiteY3" fmla="*/ 138101 h 152165"/>
                <a:gd name="connsiteX4" fmla="*/ 96966 w 141046"/>
                <a:gd name="connsiteY4" fmla="*/ 137447 h 152165"/>
                <a:gd name="connsiteX5" fmla="*/ 96966 w 141046"/>
                <a:gd name="connsiteY5" fmla="*/ 135156 h 152165"/>
                <a:gd name="connsiteX6" fmla="*/ 45915 w 141046"/>
                <a:gd name="connsiteY6" fmla="*/ 151518 h 152165"/>
                <a:gd name="connsiteX7" fmla="*/ 67 w 141046"/>
                <a:gd name="connsiteY7" fmla="*/ 115488 h 152165"/>
                <a:gd name="connsiteX8" fmla="*/ -228 w 141046"/>
                <a:gd name="connsiteY8" fmla="*/ 111593 h 152165"/>
                <a:gd name="connsiteX9" fmla="*/ 78968 w 141046"/>
                <a:gd name="connsiteY9" fmla="*/ 52688 h 152165"/>
                <a:gd name="connsiteX10" fmla="*/ 106785 w 141046"/>
                <a:gd name="connsiteY10" fmla="*/ 54652 h 152165"/>
                <a:gd name="connsiteX11" fmla="*/ 106785 w 141046"/>
                <a:gd name="connsiteY11" fmla="*/ 47452 h 152165"/>
                <a:gd name="connsiteX12" fmla="*/ 74059 w 141046"/>
                <a:gd name="connsiteY12" fmla="*/ 26508 h 152165"/>
                <a:gd name="connsiteX13" fmla="*/ 41334 w 141046"/>
                <a:gd name="connsiteY13" fmla="*/ 35344 h 152165"/>
                <a:gd name="connsiteX14" fmla="*/ 35116 w 141046"/>
                <a:gd name="connsiteY14" fmla="*/ 37307 h 152165"/>
                <a:gd name="connsiteX15" fmla="*/ 22353 w 141046"/>
                <a:gd name="connsiteY15" fmla="*/ 25199 h 152165"/>
                <a:gd name="connsiteX16" fmla="*/ 22353 w 141046"/>
                <a:gd name="connsiteY16" fmla="*/ 24544 h 152165"/>
                <a:gd name="connsiteX17" fmla="*/ 32171 w 141046"/>
                <a:gd name="connsiteY17" fmla="*/ 9490 h 152165"/>
                <a:gd name="connsiteX18" fmla="*/ 86167 w 141046"/>
                <a:gd name="connsiteY18" fmla="*/ -327 h 152165"/>
                <a:gd name="connsiteX19" fmla="*/ 140818 w 141046"/>
                <a:gd name="connsiteY19" fmla="*/ 39271 h 152165"/>
                <a:gd name="connsiteX20" fmla="*/ 140164 w 141046"/>
                <a:gd name="connsiteY20" fmla="*/ 46470 h 152165"/>
                <a:gd name="connsiteX21" fmla="*/ 81913 w 141046"/>
                <a:gd name="connsiteY21" fmla="*/ 75596 h 152165"/>
                <a:gd name="connsiteX22" fmla="*/ 33153 w 141046"/>
                <a:gd name="connsiteY22" fmla="*/ 104067 h 152165"/>
                <a:gd name="connsiteX23" fmla="*/ 57369 w 141046"/>
                <a:gd name="connsiteY23" fmla="*/ 123375 h 152165"/>
                <a:gd name="connsiteX24" fmla="*/ 100239 w 141046"/>
                <a:gd name="connsiteY24" fmla="*/ 110939 h 152165"/>
                <a:gd name="connsiteX25" fmla="*/ 103839 w 141046"/>
                <a:gd name="connsiteY25" fmla="*/ 78214 h 152165"/>
                <a:gd name="connsiteX26" fmla="*/ 82895 w 141046"/>
                <a:gd name="connsiteY26" fmla="*/ 75596 h 15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1046" h="152165">
                  <a:moveTo>
                    <a:pt x="140164" y="46470"/>
                  </a:moveTo>
                  <a:lnTo>
                    <a:pt x="129038" y="135483"/>
                  </a:lnTo>
                  <a:cubicBezTo>
                    <a:pt x="127892" y="144581"/>
                    <a:pt x="120202" y="151420"/>
                    <a:pt x="111038" y="151518"/>
                  </a:cubicBezTo>
                  <a:cubicBezTo>
                    <a:pt x="103446" y="151715"/>
                    <a:pt x="97163" y="145694"/>
                    <a:pt x="96966" y="138101"/>
                  </a:cubicBezTo>
                  <a:cubicBezTo>
                    <a:pt x="96966" y="137872"/>
                    <a:pt x="96966" y="137675"/>
                    <a:pt x="96966" y="137447"/>
                  </a:cubicBezTo>
                  <a:lnTo>
                    <a:pt x="96966" y="135156"/>
                  </a:lnTo>
                  <a:cubicBezTo>
                    <a:pt x="81651" y="144941"/>
                    <a:pt x="64077" y="150602"/>
                    <a:pt x="45915" y="151518"/>
                  </a:cubicBezTo>
                  <a:cubicBezTo>
                    <a:pt x="23301" y="154235"/>
                    <a:pt x="2783" y="138101"/>
                    <a:pt x="67" y="115488"/>
                  </a:cubicBezTo>
                  <a:cubicBezTo>
                    <a:pt x="-97" y="114212"/>
                    <a:pt x="-195" y="112903"/>
                    <a:pt x="-228" y="111593"/>
                  </a:cubicBezTo>
                  <a:cubicBezTo>
                    <a:pt x="-228" y="71014"/>
                    <a:pt x="44606" y="52688"/>
                    <a:pt x="78968" y="52688"/>
                  </a:cubicBezTo>
                  <a:cubicBezTo>
                    <a:pt x="88262" y="52688"/>
                    <a:pt x="97556" y="53342"/>
                    <a:pt x="106785" y="54652"/>
                  </a:cubicBezTo>
                  <a:cubicBezTo>
                    <a:pt x="106947" y="52263"/>
                    <a:pt x="106947" y="49841"/>
                    <a:pt x="106785" y="47452"/>
                  </a:cubicBezTo>
                  <a:cubicBezTo>
                    <a:pt x="106785" y="28798"/>
                    <a:pt x="89767" y="26508"/>
                    <a:pt x="74059" y="26508"/>
                  </a:cubicBezTo>
                  <a:cubicBezTo>
                    <a:pt x="62605" y="26835"/>
                    <a:pt x="51380" y="29846"/>
                    <a:pt x="41334" y="35344"/>
                  </a:cubicBezTo>
                  <a:cubicBezTo>
                    <a:pt x="39402" y="36390"/>
                    <a:pt x="37308" y="37046"/>
                    <a:pt x="35116" y="37307"/>
                  </a:cubicBezTo>
                  <a:cubicBezTo>
                    <a:pt x="28243" y="37504"/>
                    <a:pt x="22549" y="32071"/>
                    <a:pt x="22353" y="25199"/>
                  </a:cubicBezTo>
                  <a:cubicBezTo>
                    <a:pt x="22353" y="25002"/>
                    <a:pt x="22353" y="24774"/>
                    <a:pt x="22353" y="24544"/>
                  </a:cubicBezTo>
                  <a:cubicBezTo>
                    <a:pt x="22419" y="18032"/>
                    <a:pt x="26248" y="12174"/>
                    <a:pt x="32171" y="9490"/>
                  </a:cubicBezTo>
                  <a:cubicBezTo>
                    <a:pt x="49351" y="2683"/>
                    <a:pt x="67711" y="-654"/>
                    <a:pt x="86167" y="-327"/>
                  </a:cubicBezTo>
                  <a:cubicBezTo>
                    <a:pt x="113002" y="-327"/>
                    <a:pt x="140818" y="7527"/>
                    <a:pt x="140818" y="39271"/>
                  </a:cubicBezTo>
                  <a:cubicBezTo>
                    <a:pt x="140753" y="41692"/>
                    <a:pt x="140557" y="44081"/>
                    <a:pt x="140164" y="46470"/>
                  </a:cubicBezTo>
                  <a:close/>
                  <a:moveTo>
                    <a:pt x="81913" y="75596"/>
                  </a:moveTo>
                  <a:cubicBezTo>
                    <a:pt x="64896" y="75596"/>
                    <a:pt x="33153" y="81487"/>
                    <a:pt x="33153" y="104067"/>
                  </a:cubicBezTo>
                  <a:cubicBezTo>
                    <a:pt x="33153" y="117811"/>
                    <a:pt x="45261" y="123375"/>
                    <a:pt x="57369" y="123375"/>
                  </a:cubicBezTo>
                  <a:cubicBezTo>
                    <a:pt x="72521" y="123080"/>
                    <a:pt x="87313" y="118793"/>
                    <a:pt x="100239" y="110939"/>
                  </a:cubicBezTo>
                  <a:lnTo>
                    <a:pt x="103839" y="78214"/>
                  </a:lnTo>
                  <a:cubicBezTo>
                    <a:pt x="96999" y="76447"/>
                    <a:pt x="89964" y="75563"/>
                    <a:pt x="82895" y="7559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0" name="Frihandsfigur: Form 79">
              <a:extLst>
                <a:ext uri="{FF2B5EF4-FFF2-40B4-BE49-F238E27FC236}">
                  <a16:creationId xmlns:a16="http://schemas.microsoft.com/office/drawing/2014/main" id="{ECA712DA-DAF3-476C-80AE-D0E355DF5C02}"/>
                </a:ext>
              </a:extLst>
            </p:cNvPr>
            <p:cNvSpPr/>
            <p:nvPr/>
          </p:nvSpPr>
          <p:spPr>
            <a:xfrm>
              <a:off x="3867468" y="5207702"/>
              <a:ext cx="101154" cy="207624"/>
            </a:xfrm>
            <a:custGeom>
              <a:avLst/>
              <a:gdLst>
                <a:gd name="connsiteX0" fmla="*/ 100926 w 101154"/>
                <a:gd name="connsiteY0" fmla="*/ 77870 h 207624"/>
                <a:gd name="connsiteX1" fmla="*/ 85218 w 101154"/>
                <a:gd name="connsiteY1" fmla="*/ 91941 h 207624"/>
                <a:gd name="connsiteX2" fmla="*/ 61328 w 101154"/>
                <a:gd name="connsiteY2" fmla="*/ 91941 h 207624"/>
                <a:gd name="connsiteX3" fmla="*/ 54783 w 101154"/>
                <a:gd name="connsiteY3" fmla="*/ 146920 h 207624"/>
                <a:gd name="connsiteX4" fmla="*/ 54783 w 101154"/>
                <a:gd name="connsiteY4" fmla="*/ 155101 h 207624"/>
                <a:gd name="connsiteX5" fmla="*/ 73436 w 101154"/>
                <a:gd name="connsiteY5" fmla="*/ 178337 h 207624"/>
                <a:gd name="connsiteX6" fmla="*/ 79000 w 101154"/>
                <a:gd name="connsiteY6" fmla="*/ 178337 h 207624"/>
                <a:gd name="connsiteX7" fmla="*/ 91762 w 101154"/>
                <a:gd name="connsiteY7" fmla="*/ 189758 h 207624"/>
                <a:gd name="connsiteX8" fmla="*/ 91762 w 101154"/>
                <a:gd name="connsiteY8" fmla="*/ 190773 h 207624"/>
                <a:gd name="connsiteX9" fmla="*/ 64601 w 101154"/>
                <a:gd name="connsiteY9" fmla="*/ 207135 h 207624"/>
                <a:gd name="connsiteX10" fmla="*/ 21502 w 101154"/>
                <a:gd name="connsiteY10" fmla="*/ 170646 h 207624"/>
                <a:gd name="connsiteX11" fmla="*/ 21403 w 101154"/>
                <a:gd name="connsiteY11" fmla="*/ 165573 h 207624"/>
                <a:gd name="connsiteX12" fmla="*/ 21403 w 101154"/>
                <a:gd name="connsiteY12" fmla="*/ 152484 h 207624"/>
                <a:gd name="connsiteX13" fmla="*/ 28930 w 101154"/>
                <a:gd name="connsiteY13" fmla="*/ 91941 h 207624"/>
                <a:gd name="connsiteX14" fmla="*/ 11586 w 101154"/>
                <a:gd name="connsiteY14" fmla="*/ 91941 h 207624"/>
                <a:gd name="connsiteX15" fmla="*/ -228 w 101154"/>
                <a:gd name="connsiteY15" fmla="*/ 80194 h 207624"/>
                <a:gd name="connsiteX16" fmla="*/ -196 w 101154"/>
                <a:gd name="connsiteY16" fmla="*/ 79506 h 207624"/>
                <a:gd name="connsiteX17" fmla="*/ -196 w 101154"/>
                <a:gd name="connsiteY17" fmla="*/ 79506 h 207624"/>
                <a:gd name="connsiteX18" fmla="*/ 32529 w 101154"/>
                <a:gd name="connsiteY18" fmla="*/ 65762 h 207624"/>
                <a:gd name="connsiteX19" fmla="*/ 38093 w 101154"/>
                <a:gd name="connsiteY19" fmla="*/ 15692 h 207624"/>
                <a:gd name="connsiteX20" fmla="*/ 56747 w 101154"/>
                <a:gd name="connsiteY20" fmla="*/ -344 h 207624"/>
                <a:gd name="connsiteX21" fmla="*/ 71146 w 101154"/>
                <a:gd name="connsiteY21" fmla="*/ 13401 h 207624"/>
                <a:gd name="connsiteX22" fmla="*/ 71146 w 101154"/>
                <a:gd name="connsiteY22" fmla="*/ 13401 h 207624"/>
                <a:gd name="connsiteX23" fmla="*/ 71146 w 101154"/>
                <a:gd name="connsiteY23" fmla="*/ 15692 h 207624"/>
                <a:gd name="connsiteX24" fmla="*/ 65255 w 101154"/>
                <a:gd name="connsiteY24" fmla="*/ 65762 h 207624"/>
                <a:gd name="connsiteX25" fmla="*/ 88163 w 101154"/>
                <a:gd name="connsiteY25" fmla="*/ 65762 h 207624"/>
                <a:gd name="connsiteX26" fmla="*/ 100926 w 101154"/>
                <a:gd name="connsiteY26" fmla="*/ 78197 h 207624"/>
                <a:gd name="connsiteX27" fmla="*/ 100926 w 101154"/>
                <a:gd name="connsiteY27" fmla="*/ 77870 h 20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154" h="207624">
                  <a:moveTo>
                    <a:pt x="100926" y="77870"/>
                  </a:moveTo>
                  <a:cubicBezTo>
                    <a:pt x="99813" y="85757"/>
                    <a:pt x="93170" y="91713"/>
                    <a:pt x="85218" y="91941"/>
                  </a:cubicBezTo>
                  <a:lnTo>
                    <a:pt x="61328" y="91941"/>
                  </a:lnTo>
                  <a:lnTo>
                    <a:pt x="54783" y="146920"/>
                  </a:lnTo>
                  <a:cubicBezTo>
                    <a:pt x="54620" y="149636"/>
                    <a:pt x="54620" y="152386"/>
                    <a:pt x="54783" y="155101"/>
                  </a:cubicBezTo>
                  <a:cubicBezTo>
                    <a:pt x="54783" y="167864"/>
                    <a:pt x="59364" y="178337"/>
                    <a:pt x="73436" y="178337"/>
                  </a:cubicBezTo>
                  <a:lnTo>
                    <a:pt x="79000" y="178337"/>
                  </a:lnTo>
                  <a:cubicBezTo>
                    <a:pt x="85676" y="177976"/>
                    <a:pt x="91370" y="183082"/>
                    <a:pt x="91762" y="189758"/>
                  </a:cubicBezTo>
                  <a:cubicBezTo>
                    <a:pt x="91762" y="190117"/>
                    <a:pt x="91762" y="190445"/>
                    <a:pt x="91762" y="190773"/>
                  </a:cubicBezTo>
                  <a:cubicBezTo>
                    <a:pt x="91762" y="204517"/>
                    <a:pt x="75727" y="207135"/>
                    <a:pt x="64601" y="207135"/>
                  </a:cubicBezTo>
                  <a:cubicBezTo>
                    <a:pt x="42642" y="208968"/>
                    <a:pt x="23334" y="192637"/>
                    <a:pt x="21502" y="170646"/>
                  </a:cubicBezTo>
                  <a:cubicBezTo>
                    <a:pt x="21371" y="168977"/>
                    <a:pt x="21338" y="167275"/>
                    <a:pt x="21403" y="165573"/>
                  </a:cubicBezTo>
                  <a:cubicBezTo>
                    <a:pt x="21403" y="161319"/>
                    <a:pt x="21403" y="156410"/>
                    <a:pt x="21403" y="152484"/>
                  </a:cubicBezTo>
                  <a:lnTo>
                    <a:pt x="28930" y="91941"/>
                  </a:lnTo>
                  <a:lnTo>
                    <a:pt x="11586" y="91941"/>
                  </a:lnTo>
                  <a:cubicBezTo>
                    <a:pt x="5073" y="91941"/>
                    <a:pt x="-196" y="86673"/>
                    <a:pt x="-228" y="80194"/>
                  </a:cubicBezTo>
                  <a:cubicBezTo>
                    <a:pt x="-228" y="79964"/>
                    <a:pt x="-196" y="79735"/>
                    <a:pt x="-196" y="79506"/>
                  </a:cubicBezTo>
                  <a:lnTo>
                    <a:pt x="-196" y="79506"/>
                  </a:lnTo>
                  <a:cubicBezTo>
                    <a:pt x="2095" y="62489"/>
                    <a:pt x="20421" y="65762"/>
                    <a:pt x="32529" y="65762"/>
                  </a:cubicBezTo>
                  <a:lnTo>
                    <a:pt x="38093" y="15692"/>
                  </a:lnTo>
                  <a:cubicBezTo>
                    <a:pt x="39762" y="6627"/>
                    <a:pt x="47551" y="-50"/>
                    <a:pt x="56747" y="-344"/>
                  </a:cubicBezTo>
                  <a:cubicBezTo>
                    <a:pt x="64503" y="-540"/>
                    <a:pt x="70949" y="5612"/>
                    <a:pt x="71146" y="13401"/>
                  </a:cubicBezTo>
                  <a:cubicBezTo>
                    <a:pt x="71146" y="13401"/>
                    <a:pt x="71146" y="13401"/>
                    <a:pt x="71146" y="13401"/>
                  </a:cubicBezTo>
                  <a:cubicBezTo>
                    <a:pt x="71146" y="13401"/>
                    <a:pt x="71146" y="15037"/>
                    <a:pt x="71146" y="15692"/>
                  </a:cubicBezTo>
                  <a:lnTo>
                    <a:pt x="65255" y="65762"/>
                  </a:lnTo>
                  <a:lnTo>
                    <a:pt x="88163" y="65762"/>
                  </a:lnTo>
                  <a:cubicBezTo>
                    <a:pt x="95101" y="65762"/>
                    <a:pt x="100762" y="71292"/>
                    <a:pt x="100926" y="78197"/>
                  </a:cubicBezTo>
                  <a:cubicBezTo>
                    <a:pt x="100926" y="78197"/>
                    <a:pt x="100926" y="77870"/>
                    <a:pt x="100926" y="77870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1" name="Frihandsfigur: Form 80">
              <a:extLst>
                <a:ext uri="{FF2B5EF4-FFF2-40B4-BE49-F238E27FC236}">
                  <a16:creationId xmlns:a16="http://schemas.microsoft.com/office/drawing/2014/main" id="{74120682-3396-4050-B345-83193F9A09ED}"/>
                </a:ext>
              </a:extLst>
            </p:cNvPr>
            <p:cNvSpPr/>
            <p:nvPr/>
          </p:nvSpPr>
          <p:spPr>
            <a:xfrm>
              <a:off x="3981385" y="5194617"/>
              <a:ext cx="59560" cy="221877"/>
            </a:xfrm>
            <a:custGeom>
              <a:avLst/>
              <a:gdLst>
                <a:gd name="connsiteX0" fmla="*/ 32170 w 59560"/>
                <a:gd name="connsiteY0" fmla="*/ 205166 h 221877"/>
                <a:gd name="connsiteX1" fmla="*/ 13844 w 59560"/>
                <a:gd name="connsiteY1" fmla="*/ 221529 h 221877"/>
                <a:gd name="connsiteX2" fmla="*/ -228 w 59560"/>
                <a:gd name="connsiteY2" fmla="*/ 207457 h 221877"/>
                <a:gd name="connsiteX3" fmla="*/ -228 w 59560"/>
                <a:gd name="connsiteY3" fmla="*/ 207130 h 221877"/>
                <a:gd name="connsiteX4" fmla="*/ 14499 w 59560"/>
                <a:gd name="connsiteY4" fmla="*/ 85391 h 221877"/>
                <a:gd name="connsiteX5" fmla="*/ 32497 w 59560"/>
                <a:gd name="connsiteY5" fmla="*/ 69356 h 221877"/>
                <a:gd name="connsiteX6" fmla="*/ 47224 w 59560"/>
                <a:gd name="connsiteY6" fmla="*/ 83101 h 221877"/>
                <a:gd name="connsiteX7" fmla="*/ 32170 w 59560"/>
                <a:gd name="connsiteY7" fmla="*/ 205166 h 221877"/>
                <a:gd name="connsiteX8" fmla="*/ 38388 w 59560"/>
                <a:gd name="connsiteY8" fmla="*/ 41540 h 221877"/>
                <a:gd name="connsiteX9" fmla="*/ 17444 w 59560"/>
                <a:gd name="connsiteY9" fmla="*/ 20596 h 221877"/>
                <a:gd name="connsiteX10" fmla="*/ 38388 w 59560"/>
                <a:gd name="connsiteY10" fmla="*/ -349 h 221877"/>
                <a:gd name="connsiteX11" fmla="*/ 59332 w 59560"/>
                <a:gd name="connsiteY11" fmla="*/ 20596 h 221877"/>
                <a:gd name="connsiteX12" fmla="*/ 59332 w 59560"/>
                <a:gd name="connsiteY12" fmla="*/ 20923 h 221877"/>
                <a:gd name="connsiteX13" fmla="*/ 39697 w 59560"/>
                <a:gd name="connsiteY13" fmla="*/ 40886 h 22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560" h="221877">
                  <a:moveTo>
                    <a:pt x="32170" y="205166"/>
                  </a:moveTo>
                  <a:cubicBezTo>
                    <a:pt x="30665" y="214231"/>
                    <a:pt x="23040" y="221039"/>
                    <a:pt x="13844" y="221529"/>
                  </a:cubicBezTo>
                  <a:cubicBezTo>
                    <a:pt x="6088" y="221529"/>
                    <a:pt x="-228" y="215246"/>
                    <a:pt x="-228" y="207457"/>
                  </a:cubicBezTo>
                  <a:cubicBezTo>
                    <a:pt x="-228" y="207359"/>
                    <a:pt x="-228" y="207229"/>
                    <a:pt x="-228" y="207130"/>
                  </a:cubicBezTo>
                  <a:cubicBezTo>
                    <a:pt x="-228" y="207130"/>
                    <a:pt x="-228" y="207130"/>
                    <a:pt x="14499" y="85391"/>
                  </a:cubicBezTo>
                  <a:cubicBezTo>
                    <a:pt x="15775" y="76359"/>
                    <a:pt x="23400" y="69585"/>
                    <a:pt x="32497" y="69356"/>
                  </a:cubicBezTo>
                  <a:cubicBezTo>
                    <a:pt x="40319" y="69161"/>
                    <a:pt x="46864" y="75280"/>
                    <a:pt x="47224" y="83101"/>
                  </a:cubicBezTo>
                  <a:cubicBezTo>
                    <a:pt x="47224" y="83101"/>
                    <a:pt x="47224" y="84737"/>
                    <a:pt x="32170" y="205166"/>
                  </a:cubicBezTo>
                  <a:close/>
                  <a:moveTo>
                    <a:pt x="38388" y="41540"/>
                  </a:moveTo>
                  <a:cubicBezTo>
                    <a:pt x="26836" y="41540"/>
                    <a:pt x="17444" y="32148"/>
                    <a:pt x="17444" y="20596"/>
                  </a:cubicBezTo>
                  <a:cubicBezTo>
                    <a:pt x="17444" y="9011"/>
                    <a:pt x="26836" y="-349"/>
                    <a:pt x="38388" y="-349"/>
                  </a:cubicBezTo>
                  <a:cubicBezTo>
                    <a:pt x="49973" y="-349"/>
                    <a:pt x="59332" y="9044"/>
                    <a:pt x="59332" y="20596"/>
                  </a:cubicBezTo>
                  <a:cubicBezTo>
                    <a:pt x="59332" y="20694"/>
                    <a:pt x="59332" y="20825"/>
                    <a:pt x="59332" y="20923"/>
                  </a:cubicBezTo>
                  <a:cubicBezTo>
                    <a:pt x="59005" y="31689"/>
                    <a:pt x="50464" y="40362"/>
                    <a:pt x="39697" y="40886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2" name="Frihandsfigur: Form 81">
              <a:extLst>
                <a:ext uri="{FF2B5EF4-FFF2-40B4-BE49-F238E27FC236}">
                  <a16:creationId xmlns:a16="http://schemas.microsoft.com/office/drawing/2014/main" id="{A6F2C44B-5E37-472A-8D73-5E34EE7BC28C}"/>
                </a:ext>
              </a:extLst>
            </p:cNvPr>
            <p:cNvSpPr/>
            <p:nvPr/>
          </p:nvSpPr>
          <p:spPr>
            <a:xfrm>
              <a:off x="4052906" y="5262646"/>
              <a:ext cx="124176" cy="154213"/>
            </a:xfrm>
            <a:custGeom>
              <a:avLst/>
              <a:gdLst>
                <a:gd name="connsiteX0" fmla="*/ 122312 w 124176"/>
                <a:gd name="connsiteY0" fmla="*/ 20634 h 154213"/>
                <a:gd name="connsiteX1" fmla="*/ 56861 w 124176"/>
                <a:gd name="connsiteY1" fmla="*/ 144009 h 154213"/>
                <a:gd name="connsiteX2" fmla="*/ 41154 w 124176"/>
                <a:gd name="connsiteY2" fmla="*/ 153827 h 154213"/>
                <a:gd name="connsiteX3" fmla="*/ 27409 w 124176"/>
                <a:gd name="connsiteY3" fmla="*/ 143682 h 154213"/>
                <a:gd name="connsiteX4" fmla="*/ -80 w 124176"/>
                <a:gd name="connsiteY4" fmla="*/ 20962 h 154213"/>
                <a:gd name="connsiteX5" fmla="*/ -80 w 124176"/>
                <a:gd name="connsiteY5" fmla="*/ 17362 h 154213"/>
                <a:gd name="connsiteX6" fmla="*/ 16249 w 124176"/>
                <a:gd name="connsiteY6" fmla="*/ -309 h 154213"/>
                <a:gd name="connsiteX7" fmla="*/ 16282 w 124176"/>
                <a:gd name="connsiteY7" fmla="*/ -309 h 154213"/>
                <a:gd name="connsiteX8" fmla="*/ 29045 w 124176"/>
                <a:gd name="connsiteY8" fmla="*/ 9180 h 154213"/>
                <a:gd name="connsiteX9" fmla="*/ 49008 w 124176"/>
                <a:gd name="connsiteY9" fmla="*/ 96230 h 154213"/>
                <a:gd name="connsiteX10" fmla="*/ 94823 w 124176"/>
                <a:gd name="connsiteY10" fmla="*/ 9508 h 154213"/>
                <a:gd name="connsiteX11" fmla="*/ 109876 w 124176"/>
                <a:gd name="connsiteY11" fmla="*/ -309 h 154213"/>
                <a:gd name="connsiteX12" fmla="*/ 123916 w 124176"/>
                <a:gd name="connsiteY12" fmla="*/ 11766 h 154213"/>
                <a:gd name="connsiteX13" fmla="*/ 123949 w 124176"/>
                <a:gd name="connsiteY13" fmla="*/ 13108 h 154213"/>
                <a:gd name="connsiteX14" fmla="*/ 122312 w 124176"/>
                <a:gd name="connsiteY14" fmla="*/ 20634 h 15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4176" h="154213">
                  <a:moveTo>
                    <a:pt x="122312" y="20634"/>
                  </a:moveTo>
                  <a:lnTo>
                    <a:pt x="56861" y="144009"/>
                  </a:lnTo>
                  <a:cubicBezTo>
                    <a:pt x="53785" y="149867"/>
                    <a:pt x="47764" y="153630"/>
                    <a:pt x="41154" y="153827"/>
                  </a:cubicBezTo>
                  <a:cubicBezTo>
                    <a:pt x="34706" y="154318"/>
                    <a:pt x="28849" y="149998"/>
                    <a:pt x="27409" y="143682"/>
                  </a:cubicBezTo>
                  <a:lnTo>
                    <a:pt x="-80" y="20962"/>
                  </a:lnTo>
                  <a:cubicBezTo>
                    <a:pt x="-277" y="19783"/>
                    <a:pt x="-277" y="18540"/>
                    <a:pt x="-80" y="17362"/>
                  </a:cubicBezTo>
                  <a:cubicBezTo>
                    <a:pt x="-440" y="7970"/>
                    <a:pt x="6858" y="50"/>
                    <a:pt x="16249" y="-309"/>
                  </a:cubicBezTo>
                  <a:cubicBezTo>
                    <a:pt x="16249" y="-309"/>
                    <a:pt x="16282" y="-309"/>
                    <a:pt x="16282" y="-309"/>
                  </a:cubicBezTo>
                  <a:cubicBezTo>
                    <a:pt x="22206" y="-375"/>
                    <a:pt x="27409" y="3487"/>
                    <a:pt x="29045" y="9180"/>
                  </a:cubicBezTo>
                  <a:lnTo>
                    <a:pt x="49008" y="96230"/>
                  </a:lnTo>
                  <a:lnTo>
                    <a:pt x="94823" y="9508"/>
                  </a:lnTo>
                  <a:cubicBezTo>
                    <a:pt x="97572" y="3651"/>
                    <a:pt x="103397" y="-178"/>
                    <a:pt x="109876" y="-309"/>
                  </a:cubicBezTo>
                  <a:cubicBezTo>
                    <a:pt x="117076" y="-866"/>
                    <a:pt x="123360" y="4533"/>
                    <a:pt x="123916" y="11766"/>
                  </a:cubicBezTo>
                  <a:cubicBezTo>
                    <a:pt x="123949" y="12191"/>
                    <a:pt x="123949" y="12650"/>
                    <a:pt x="123949" y="13108"/>
                  </a:cubicBezTo>
                  <a:cubicBezTo>
                    <a:pt x="123850" y="15693"/>
                    <a:pt x="123327" y="18245"/>
                    <a:pt x="122312" y="20634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3" name="Frihandsfigur: Form 82">
              <a:extLst>
                <a:ext uri="{FF2B5EF4-FFF2-40B4-BE49-F238E27FC236}">
                  <a16:creationId xmlns:a16="http://schemas.microsoft.com/office/drawing/2014/main" id="{EEE88462-ECB6-4FF7-851B-5B2C344A311A}"/>
                </a:ext>
              </a:extLst>
            </p:cNvPr>
            <p:cNvSpPr/>
            <p:nvPr/>
          </p:nvSpPr>
          <p:spPr>
            <a:xfrm>
              <a:off x="4184936" y="5262015"/>
              <a:ext cx="119120" cy="154152"/>
            </a:xfrm>
            <a:custGeom>
              <a:avLst/>
              <a:gdLst>
                <a:gd name="connsiteX0" fmla="*/ 97948 w 119120"/>
                <a:gd name="connsiteY0" fmla="*/ 41883 h 154152"/>
                <a:gd name="connsiteX1" fmla="*/ 76022 w 119120"/>
                <a:gd name="connsiteY1" fmla="*/ 35665 h 154152"/>
                <a:gd name="connsiteX2" fmla="*/ 40025 w 119120"/>
                <a:gd name="connsiteY2" fmla="*/ 72645 h 154152"/>
                <a:gd name="connsiteX3" fmla="*/ 32170 w 119120"/>
                <a:gd name="connsiteY3" fmla="*/ 138095 h 154152"/>
                <a:gd name="connsiteX4" fmla="*/ 13844 w 119120"/>
                <a:gd name="connsiteY4" fmla="*/ 153804 h 154152"/>
                <a:gd name="connsiteX5" fmla="*/ -228 w 119120"/>
                <a:gd name="connsiteY5" fmla="*/ 139731 h 154152"/>
                <a:gd name="connsiteX6" fmla="*/ -228 w 119120"/>
                <a:gd name="connsiteY6" fmla="*/ 138095 h 154152"/>
                <a:gd name="connsiteX7" fmla="*/ 14825 w 119120"/>
                <a:gd name="connsiteY7" fmla="*/ 15703 h 154152"/>
                <a:gd name="connsiteX8" fmla="*/ 32825 w 119120"/>
                <a:gd name="connsiteY8" fmla="*/ -333 h 154152"/>
                <a:gd name="connsiteX9" fmla="*/ 47224 w 119120"/>
                <a:gd name="connsiteY9" fmla="*/ 12725 h 154152"/>
                <a:gd name="connsiteX10" fmla="*/ 47224 w 119120"/>
                <a:gd name="connsiteY10" fmla="*/ 13740 h 154152"/>
                <a:gd name="connsiteX11" fmla="*/ 47224 w 119120"/>
                <a:gd name="connsiteY11" fmla="*/ 24866 h 154152"/>
                <a:gd name="connsiteX12" fmla="*/ 89439 w 119120"/>
                <a:gd name="connsiteY12" fmla="*/ 2612 h 154152"/>
                <a:gd name="connsiteX13" fmla="*/ 118893 w 119120"/>
                <a:gd name="connsiteY13" fmla="*/ 22575 h 154152"/>
                <a:gd name="connsiteX14" fmla="*/ 98963 w 119120"/>
                <a:gd name="connsiteY14" fmla="*/ 41916 h 154152"/>
                <a:gd name="connsiteX15" fmla="*/ 97948 w 119120"/>
                <a:gd name="connsiteY15" fmla="*/ 41883 h 15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120" h="154152">
                  <a:moveTo>
                    <a:pt x="97948" y="41883"/>
                  </a:moveTo>
                  <a:cubicBezTo>
                    <a:pt x="90749" y="41883"/>
                    <a:pt x="86822" y="35665"/>
                    <a:pt x="76022" y="35665"/>
                  </a:cubicBezTo>
                  <a:cubicBezTo>
                    <a:pt x="56845" y="38021"/>
                    <a:pt x="41857" y="53402"/>
                    <a:pt x="40025" y="72645"/>
                  </a:cubicBezTo>
                  <a:lnTo>
                    <a:pt x="32170" y="138095"/>
                  </a:lnTo>
                  <a:cubicBezTo>
                    <a:pt x="30599" y="147030"/>
                    <a:pt x="22909" y="153640"/>
                    <a:pt x="13844" y="153804"/>
                  </a:cubicBezTo>
                  <a:cubicBezTo>
                    <a:pt x="6088" y="153804"/>
                    <a:pt x="-228" y="147520"/>
                    <a:pt x="-228" y="139731"/>
                  </a:cubicBezTo>
                  <a:lnTo>
                    <a:pt x="-228" y="138095"/>
                  </a:lnTo>
                  <a:lnTo>
                    <a:pt x="14825" y="15703"/>
                  </a:lnTo>
                  <a:cubicBezTo>
                    <a:pt x="16233" y="6736"/>
                    <a:pt x="23760" y="28"/>
                    <a:pt x="32825" y="-333"/>
                  </a:cubicBezTo>
                  <a:cubicBezTo>
                    <a:pt x="40417" y="-693"/>
                    <a:pt x="46864" y="5165"/>
                    <a:pt x="47224" y="12725"/>
                  </a:cubicBezTo>
                  <a:cubicBezTo>
                    <a:pt x="47224" y="13084"/>
                    <a:pt x="47224" y="13412"/>
                    <a:pt x="47224" y="13740"/>
                  </a:cubicBezTo>
                  <a:cubicBezTo>
                    <a:pt x="47551" y="17437"/>
                    <a:pt x="47551" y="21168"/>
                    <a:pt x="47224" y="24866"/>
                  </a:cubicBezTo>
                  <a:cubicBezTo>
                    <a:pt x="57303" y="11546"/>
                    <a:pt x="72750" y="3398"/>
                    <a:pt x="89439" y="2612"/>
                  </a:cubicBezTo>
                  <a:cubicBezTo>
                    <a:pt x="101547" y="2612"/>
                    <a:pt x="118893" y="8176"/>
                    <a:pt x="118893" y="22575"/>
                  </a:cubicBezTo>
                  <a:cubicBezTo>
                    <a:pt x="118729" y="33407"/>
                    <a:pt x="109828" y="42080"/>
                    <a:pt x="98963" y="41916"/>
                  </a:cubicBezTo>
                  <a:cubicBezTo>
                    <a:pt x="98635" y="41916"/>
                    <a:pt x="98276" y="41916"/>
                    <a:pt x="97948" y="4188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4" name="Frihandsfigur: Form 83">
              <a:extLst>
                <a:ext uri="{FF2B5EF4-FFF2-40B4-BE49-F238E27FC236}">
                  <a16:creationId xmlns:a16="http://schemas.microsoft.com/office/drawing/2014/main" id="{EF306214-372C-4C90-A971-0EFFF02A8C66}"/>
                </a:ext>
              </a:extLst>
            </p:cNvPr>
            <p:cNvSpPr/>
            <p:nvPr/>
          </p:nvSpPr>
          <p:spPr>
            <a:xfrm>
              <a:off x="4308966" y="5194779"/>
              <a:ext cx="62179" cy="221720"/>
            </a:xfrm>
            <a:custGeom>
              <a:avLst/>
              <a:gdLst>
                <a:gd name="connsiteX0" fmla="*/ 32170 w 62179"/>
                <a:gd name="connsiteY0" fmla="*/ 205004 h 221720"/>
                <a:gd name="connsiteX1" fmla="*/ 14171 w 62179"/>
                <a:gd name="connsiteY1" fmla="*/ 221367 h 221720"/>
                <a:gd name="connsiteX2" fmla="*/ -228 w 62179"/>
                <a:gd name="connsiteY2" fmla="*/ 207623 h 221720"/>
                <a:gd name="connsiteX3" fmla="*/ -228 w 62179"/>
                <a:gd name="connsiteY3" fmla="*/ 206968 h 221720"/>
                <a:gd name="connsiteX4" fmla="*/ 14825 w 62179"/>
                <a:gd name="connsiteY4" fmla="*/ 85229 h 221720"/>
                <a:gd name="connsiteX5" fmla="*/ 32497 w 62179"/>
                <a:gd name="connsiteY5" fmla="*/ 69194 h 221720"/>
                <a:gd name="connsiteX6" fmla="*/ 47551 w 62179"/>
                <a:gd name="connsiteY6" fmla="*/ 82906 h 221720"/>
                <a:gd name="connsiteX7" fmla="*/ 47551 w 62179"/>
                <a:gd name="connsiteY7" fmla="*/ 82939 h 221720"/>
                <a:gd name="connsiteX8" fmla="*/ 32170 w 62179"/>
                <a:gd name="connsiteY8" fmla="*/ 205004 h 221720"/>
                <a:gd name="connsiteX9" fmla="*/ 38388 w 62179"/>
                <a:gd name="connsiteY9" fmla="*/ 41378 h 221720"/>
                <a:gd name="connsiteX10" fmla="*/ 20225 w 62179"/>
                <a:gd name="connsiteY10" fmla="*/ 17979 h 221720"/>
                <a:gd name="connsiteX11" fmla="*/ 38388 w 62179"/>
                <a:gd name="connsiteY11" fmla="*/ -183 h 221720"/>
                <a:gd name="connsiteX12" fmla="*/ 61786 w 62179"/>
                <a:gd name="connsiteY12" fmla="*/ 17979 h 221720"/>
                <a:gd name="connsiteX13" fmla="*/ 43624 w 62179"/>
                <a:gd name="connsiteY13" fmla="*/ 41378 h 221720"/>
                <a:gd name="connsiteX14" fmla="*/ 38388 w 62179"/>
                <a:gd name="connsiteY14" fmla="*/ 41378 h 2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179" h="221720">
                  <a:moveTo>
                    <a:pt x="32170" y="205004"/>
                  </a:moveTo>
                  <a:cubicBezTo>
                    <a:pt x="30665" y="213972"/>
                    <a:pt x="23236" y="220746"/>
                    <a:pt x="14171" y="221367"/>
                  </a:cubicBezTo>
                  <a:cubicBezTo>
                    <a:pt x="6415" y="221564"/>
                    <a:pt x="-32" y="215412"/>
                    <a:pt x="-228" y="207623"/>
                  </a:cubicBezTo>
                  <a:cubicBezTo>
                    <a:pt x="-228" y="207393"/>
                    <a:pt x="-228" y="207197"/>
                    <a:pt x="-228" y="206968"/>
                  </a:cubicBezTo>
                  <a:cubicBezTo>
                    <a:pt x="-228" y="206968"/>
                    <a:pt x="-228" y="206968"/>
                    <a:pt x="14825" y="85229"/>
                  </a:cubicBezTo>
                  <a:cubicBezTo>
                    <a:pt x="15938" y="76263"/>
                    <a:pt x="23465" y="69456"/>
                    <a:pt x="32497" y="69194"/>
                  </a:cubicBezTo>
                  <a:cubicBezTo>
                    <a:pt x="40449" y="68835"/>
                    <a:pt x="47191" y="74954"/>
                    <a:pt x="47551" y="82906"/>
                  </a:cubicBezTo>
                  <a:cubicBezTo>
                    <a:pt x="47551" y="82906"/>
                    <a:pt x="47551" y="82939"/>
                    <a:pt x="47551" y="82939"/>
                  </a:cubicBezTo>
                  <a:cubicBezTo>
                    <a:pt x="47551" y="82939"/>
                    <a:pt x="47551" y="84575"/>
                    <a:pt x="32170" y="205004"/>
                  </a:cubicBezTo>
                  <a:close/>
                  <a:moveTo>
                    <a:pt x="38388" y="41378"/>
                  </a:moveTo>
                  <a:cubicBezTo>
                    <a:pt x="26901" y="39938"/>
                    <a:pt x="18785" y="29466"/>
                    <a:pt x="20225" y="17979"/>
                  </a:cubicBezTo>
                  <a:cubicBezTo>
                    <a:pt x="21403" y="8488"/>
                    <a:pt x="28897" y="995"/>
                    <a:pt x="38388" y="-183"/>
                  </a:cubicBezTo>
                  <a:cubicBezTo>
                    <a:pt x="49875" y="-1623"/>
                    <a:pt x="60346" y="6493"/>
                    <a:pt x="61786" y="17979"/>
                  </a:cubicBezTo>
                  <a:cubicBezTo>
                    <a:pt x="63226" y="29466"/>
                    <a:pt x="55078" y="39938"/>
                    <a:pt x="43624" y="41378"/>
                  </a:cubicBezTo>
                  <a:cubicBezTo>
                    <a:pt x="41889" y="41607"/>
                    <a:pt x="40123" y="41607"/>
                    <a:pt x="38388" y="4137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5" name="Frihandsfigur: Form 84">
              <a:extLst>
                <a:ext uri="{FF2B5EF4-FFF2-40B4-BE49-F238E27FC236}">
                  <a16:creationId xmlns:a16="http://schemas.microsoft.com/office/drawing/2014/main" id="{A533FF1E-560A-417B-9B37-4966830D7371}"/>
                </a:ext>
              </a:extLst>
            </p:cNvPr>
            <p:cNvSpPr/>
            <p:nvPr/>
          </p:nvSpPr>
          <p:spPr>
            <a:xfrm>
              <a:off x="4381942" y="5166473"/>
              <a:ext cx="128937" cy="250103"/>
            </a:xfrm>
            <a:custGeom>
              <a:avLst/>
              <a:gdLst>
                <a:gd name="connsiteX0" fmla="*/ 122492 w 128937"/>
                <a:gd name="connsiteY0" fmla="*/ 123681 h 250103"/>
                <a:gd name="connsiteX1" fmla="*/ 74386 w 128937"/>
                <a:gd name="connsiteY1" fmla="*/ 164587 h 250103"/>
                <a:gd name="connsiteX2" fmla="*/ 113657 w 128937"/>
                <a:gd name="connsiteY2" fmla="*/ 224474 h 250103"/>
                <a:gd name="connsiteX3" fmla="*/ 116274 w 128937"/>
                <a:gd name="connsiteY3" fmla="*/ 232983 h 250103"/>
                <a:gd name="connsiteX4" fmla="*/ 100992 w 128937"/>
                <a:gd name="connsiteY4" fmla="*/ 249738 h 250103"/>
                <a:gd name="connsiteX5" fmla="*/ 86822 w 128937"/>
                <a:gd name="connsiteY5" fmla="*/ 242473 h 250103"/>
                <a:gd name="connsiteX6" fmla="*/ 48860 w 128937"/>
                <a:gd name="connsiteY6" fmla="*/ 181932 h 250103"/>
                <a:gd name="connsiteX7" fmla="*/ 36098 w 128937"/>
                <a:gd name="connsiteY7" fmla="*/ 192403 h 250103"/>
                <a:gd name="connsiteX8" fmla="*/ 31843 w 128937"/>
                <a:gd name="connsiteY8" fmla="*/ 233637 h 250103"/>
                <a:gd name="connsiteX9" fmla="*/ 13517 w 128937"/>
                <a:gd name="connsiteY9" fmla="*/ 249672 h 250103"/>
                <a:gd name="connsiteX10" fmla="*/ -228 w 128937"/>
                <a:gd name="connsiteY10" fmla="*/ 236582 h 250103"/>
                <a:gd name="connsiteX11" fmla="*/ -228 w 128937"/>
                <a:gd name="connsiteY11" fmla="*/ 235928 h 250103"/>
                <a:gd name="connsiteX12" fmla="*/ 26607 w 128937"/>
                <a:gd name="connsiteY12" fmla="*/ 16014 h 250103"/>
                <a:gd name="connsiteX13" fmla="*/ 44279 w 128937"/>
                <a:gd name="connsiteY13" fmla="*/ -349 h 250103"/>
                <a:gd name="connsiteX14" fmla="*/ 59005 w 128937"/>
                <a:gd name="connsiteY14" fmla="*/ 14050 h 250103"/>
                <a:gd name="connsiteX15" fmla="*/ 41660 w 128937"/>
                <a:gd name="connsiteY15" fmla="*/ 153460 h 250103"/>
                <a:gd name="connsiteX16" fmla="*/ 104166 w 128937"/>
                <a:gd name="connsiteY16" fmla="*/ 100772 h 250103"/>
                <a:gd name="connsiteX17" fmla="*/ 113984 w 128937"/>
                <a:gd name="connsiteY17" fmla="*/ 97500 h 250103"/>
                <a:gd name="connsiteX18" fmla="*/ 128710 w 128937"/>
                <a:gd name="connsiteY18" fmla="*/ 111899 h 250103"/>
                <a:gd name="connsiteX19" fmla="*/ 122492 w 128937"/>
                <a:gd name="connsiteY19" fmla="*/ 123681 h 25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937" h="250103">
                  <a:moveTo>
                    <a:pt x="122492" y="123681"/>
                  </a:moveTo>
                  <a:lnTo>
                    <a:pt x="74386" y="164587"/>
                  </a:lnTo>
                  <a:lnTo>
                    <a:pt x="113657" y="224474"/>
                  </a:lnTo>
                  <a:cubicBezTo>
                    <a:pt x="115261" y="227027"/>
                    <a:pt x="116176" y="229972"/>
                    <a:pt x="116274" y="232983"/>
                  </a:cubicBezTo>
                  <a:cubicBezTo>
                    <a:pt x="116668" y="241818"/>
                    <a:pt x="109828" y="249346"/>
                    <a:pt x="100992" y="249738"/>
                  </a:cubicBezTo>
                  <a:cubicBezTo>
                    <a:pt x="95331" y="250000"/>
                    <a:pt x="89931" y="247218"/>
                    <a:pt x="86822" y="242473"/>
                  </a:cubicBezTo>
                  <a:lnTo>
                    <a:pt x="48860" y="181932"/>
                  </a:lnTo>
                  <a:lnTo>
                    <a:pt x="36098" y="192403"/>
                  </a:lnTo>
                  <a:lnTo>
                    <a:pt x="31843" y="233637"/>
                  </a:lnTo>
                  <a:cubicBezTo>
                    <a:pt x="30436" y="242702"/>
                    <a:pt x="22713" y="249477"/>
                    <a:pt x="13517" y="249672"/>
                  </a:cubicBezTo>
                  <a:cubicBezTo>
                    <a:pt x="6121" y="249869"/>
                    <a:pt x="-31" y="244011"/>
                    <a:pt x="-228" y="236582"/>
                  </a:cubicBezTo>
                  <a:cubicBezTo>
                    <a:pt x="-228" y="236354"/>
                    <a:pt x="-228" y="236157"/>
                    <a:pt x="-228" y="235928"/>
                  </a:cubicBezTo>
                  <a:cubicBezTo>
                    <a:pt x="-228" y="235928"/>
                    <a:pt x="-228" y="235928"/>
                    <a:pt x="26607" y="16014"/>
                  </a:cubicBezTo>
                  <a:cubicBezTo>
                    <a:pt x="27949" y="7113"/>
                    <a:pt x="35280" y="305"/>
                    <a:pt x="44279" y="-349"/>
                  </a:cubicBezTo>
                  <a:cubicBezTo>
                    <a:pt x="52297" y="-349"/>
                    <a:pt x="58842" y="6033"/>
                    <a:pt x="59005" y="14050"/>
                  </a:cubicBezTo>
                  <a:cubicBezTo>
                    <a:pt x="59005" y="14050"/>
                    <a:pt x="59005" y="14050"/>
                    <a:pt x="41660" y="153460"/>
                  </a:cubicBezTo>
                  <a:lnTo>
                    <a:pt x="104166" y="100772"/>
                  </a:lnTo>
                  <a:cubicBezTo>
                    <a:pt x="106948" y="98514"/>
                    <a:pt x="110417" y="97369"/>
                    <a:pt x="113984" y="97500"/>
                  </a:cubicBezTo>
                  <a:cubicBezTo>
                    <a:pt x="121871" y="97827"/>
                    <a:pt x="128220" y="104045"/>
                    <a:pt x="128710" y="111899"/>
                  </a:cubicBezTo>
                  <a:cubicBezTo>
                    <a:pt x="128481" y="116546"/>
                    <a:pt x="126223" y="120865"/>
                    <a:pt x="122492" y="123681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6" name="Frihandsfigur: Form 85">
              <a:extLst>
                <a:ext uri="{FF2B5EF4-FFF2-40B4-BE49-F238E27FC236}">
                  <a16:creationId xmlns:a16="http://schemas.microsoft.com/office/drawing/2014/main" id="{7466EB94-9E95-4084-BBF4-30C32D0BDE3D}"/>
                </a:ext>
              </a:extLst>
            </p:cNvPr>
            <p:cNvSpPr/>
            <p:nvPr/>
          </p:nvSpPr>
          <p:spPr>
            <a:xfrm>
              <a:off x="4521025" y="5264623"/>
              <a:ext cx="140064" cy="152169"/>
            </a:xfrm>
            <a:custGeom>
              <a:avLst/>
              <a:gdLst>
                <a:gd name="connsiteX0" fmla="*/ 139837 w 140064"/>
                <a:gd name="connsiteY0" fmla="*/ 46475 h 152169"/>
                <a:gd name="connsiteX1" fmla="*/ 129038 w 140064"/>
                <a:gd name="connsiteY1" fmla="*/ 135488 h 152169"/>
                <a:gd name="connsiteX2" fmla="*/ 111039 w 140064"/>
                <a:gd name="connsiteY2" fmla="*/ 151523 h 152169"/>
                <a:gd name="connsiteX3" fmla="*/ 96966 w 140064"/>
                <a:gd name="connsiteY3" fmla="*/ 138105 h 152169"/>
                <a:gd name="connsiteX4" fmla="*/ 96966 w 140064"/>
                <a:gd name="connsiteY4" fmla="*/ 137451 h 152169"/>
                <a:gd name="connsiteX5" fmla="*/ 96966 w 140064"/>
                <a:gd name="connsiteY5" fmla="*/ 135160 h 152169"/>
                <a:gd name="connsiteX6" fmla="*/ 45915 w 140064"/>
                <a:gd name="connsiteY6" fmla="*/ 151523 h 152169"/>
                <a:gd name="connsiteX7" fmla="*/ 67 w 140064"/>
                <a:gd name="connsiteY7" fmla="*/ 115493 h 152169"/>
                <a:gd name="connsiteX8" fmla="*/ -228 w 140064"/>
                <a:gd name="connsiteY8" fmla="*/ 111598 h 152169"/>
                <a:gd name="connsiteX9" fmla="*/ 78968 w 140064"/>
                <a:gd name="connsiteY9" fmla="*/ 52693 h 152169"/>
                <a:gd name="connsiteX10" fmla="*/ 106457 w 140064"/>
                <a:gd name="connsiteY10" fmla="*/ 54656 h 152169"/>
                <a:gd name="connsiteX11" fmla="*/ 106457 w 140064"/>
                <a:gd name="connsiteY11" fmla="*/ 47456 h 152169"/>
                <a:gd name="connsiteX12" fmla="*/ 73732 w 140064"/>
                <a:gd name="connsiteY12" fmla="*/ 26513 h 152169"/>
                <a:gd name="connsiteX13" fmla="*/ 39043 w 140064"/>
                <a:gd name="connsiteY13" fmla="*/ 35348 h 152169"/>
                <a:gd name="connsiteX14" fmla="*/ 32825 w 140064"/>
                <a:gd name="connsiteY14" fmla="*/ 37312 h 152169"/>
                <a:gd name="connsiteX15" fmla="*/ 20063 w 140064"/>
                <a:gd name="connsiteY15" fmla="*/ 24548 h 152169"/>
                <a:gd name="connsiteX16" fmla="*/ 30207 w 140064"/>
                <a:gd name="connsiteY16" fmla="*/ 9495 h 152169"/>
                <a:gd name="connsiteX17" fmla="*/ 84204 w 140064"/>
                <a:gd name="connsiteY17" fmla="*/ -322 h 152169"/>
                <a:gd name="connsiteX18" fmla="*/ 138855 w 140064"/>
                <a:gd name="connsiteY18" fmla="*/ 39275 h 152169"/>
                <a:gd name="connsiteX19" fmla="*/ 139837 w 140064"/>
                <a:gd name="connsiteY19" fmla="*/ 46475 h 152169"/>
                <a:gd name="connsiteX20" fmla="*/ 81913 w 140064"/>
                <a:gd name="connsiteY20" fmla="*/ 75601 h 152169"/>
                <a:gd name="connsiteX21" fmla="*/ 33153 w 140064"/>
                <a:gd name="connsiteY21" fmla="*/ 104072 h 152169"/>
                <a:gd name="connsiteX22" fmla="*/ 57369 w 140064"/>
                <a:gd name="connsiteY22" fmla="*/ 123379 h 152169"/>
                <a:gd name="connsiteX23" fmla="*/ 99912 w 140064"/>
                <a:gd name="connsiteY23" fmla="*/ 110944 h 152169"/>
                <a:gd name="connsiteX24" fmla="*/ 103839 w 140064"/>
                <a:gd name="connsiteY24" fmla="*/ 78218 h 152169"/>
                <a:gd name="connsiteX25" fmla="*/ 81913 w 140064"/>
                <a:gd name="connsiteY25" fmla="*/ 75601 h 15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064" h="152169">
                  <a:moveTo>
                    <a:pt x="139837" y="46475"/>
                  </a:moveTo>
                  <a:lnTo>
                    <a:pt x="129038" y="135488"/>
                  </a:lnTo>
                  <a:cubicBezTo>
                    <a:pt x="127761" y="144520"/>
                    <a:pt x="120136" y="151294"/>
                    <a:pt x="111039" y="151523"/>
                  </a:cubicBezTo>
                  <a:cubicBezTo>
                    <a:pt x="103446" y="151719"/>
                    <a:pt x="97163" y="145698"/>
                    <a:pt x="96966" y="138105"/>
                  </a:cubicBezTo>
                  <a:cubicBezTo>
                    <a:pt x="96966" y="137876"/>
                    <a:pt x="96966" y="137680"/>
                    <a:pt x="96966" y="137451"/>
                  </a:cubicBezTo>
                  <a:lnTo>
                    <a:pt x="96966" y="135160"/>
                  </a:lnTo>
                  <a:cubicBezTo>
                    <a:pt x="81651" y="144945"/>
                    <a:pt x="64077" y="150607"/>
                    <a:pt x="45915" y="151523"/>
                  </a:cubicBezTo>
                  <a:cubicBezTo>
                    <a:pt x="23302" y="154239"/>
                    <a:pt x="2783" y="138105"/>
                    <a:pt x="67" y="115493"/>
                  </a:cubicBezTo>
                  <a:cubicBezTo>
                    <a:pt x="-97" y="114216"/>
                    <a:pt x="-195" y="112907"/>
                    <a:pt x="-228" y="111598"/>
                  </a:cubicBezTo>
                  <a:cubicBezTo>
                    <a:pt x="-228" y="71019"/>
                    <a:pt x="44607" y="52693"/>
                    <a:pt x="78968" y="52693"/>
                  </a:cubicBezTo>
                  <a:cubicBezTo>
                    <a:pt x="88164" y="52693"/>
                    <a:pt x="97360" y="53347"/>
                    <a:pt x="106457" y="54656"/>
                  </a:cubicBezTo>
                  <a:cubicBezTo>
                    <a:pt x="106621" y="52267"/>
                    <a:pt x="106621" y="49845"/>
                    <a:pt x="106457" y="47456"/>
                  </a:cubicBezTo>
                  <a:cubicBezTo>
                    <a:pt x="106457" y="28803"/>
                    <a:pt x="89767" y="26513"/>
                    <a:pt x="73732" y="26513"/>
                  </a:cubicBezTo>
                  <a:cubicBezTo>
                    <a:pt x="61623" y="26611"/>
                    <a:pt x="49711" y="29654"/>
                    <a:pt x="39043" y="35348"/>
                  </a:cubicBezTo>
                  <a:cubicBezTo>
                    <a:pt x="37144" y="36494"/>
                    <a:pt x="35017" y="37181"/>
                    <a:pt x="32825" y="37312"/>
                  </a:cubicBezTo>
                  <a:cubicBezTo>
                    <a:pt x="25789" y="37312"/>
                    <a:pt x="20063" y="31585"/>
                    <a:pt x="20063" y="24548"/>
                  </a:cubicBezTo>
                  <a:cubicBezTo>
                    <a:pt x="20193" y="17971"/>
                    <a:pt x="24153" y="12080"/>
                    <a:pt x="30207" y="9495"/>
                  </a:cubicBezTo>
                  <a:cubicBezTo>
                    <a:pt x="47355" y="2656"/>
                    <a:pt x="65714" y="-683"/>
                    <a:pt x="84204" y="-322"/>
                  </a:cubicBezTo>
                  <a:cubicBezTo>
                    <a:pt x="110711" y="-322"/>
                    <a:pt x="138855" y="7531"/>
                    <a:pt x="138855" y="39275"/>
                  </a:cubicBezTo>
                  <a:cubicBezTo>
                    <a:pt x="139510" y="41631"/>
                    <a:pt x="139837" y="44053"/>
                    <a:pt x="139837" y="46475"/>
                  </a:cubicBezTo>
                  <a:close/>
                  <a:moveTo>
                    <a:pt x="81913" y="75601"/>
                  </a:moveTo>
                  <a:cubicBezTo>
                    <a:pt x="64896" y="75601"/>
                    <a:pt x="33153" y="81491"/>
                    <a:pt x="33153" y="104072"/>
                  </a:cubicBezTo>
                  <a:cubicBezTo>
                    <a:pt x="33153" y="117816"/>
                    <a:pt x="45261" y="123379"/>
                    <a:pt x="57369" y="123379"/>
                  </a:cubicBezTo>
                  <a:cubicBezTo>
                    <a:pt x="72390" y="123085"/>
                    <a:pt x="87083" y="118797"/>
                    <a:pt x="99912" y="110944"/>
                  </a:cubicBezTo>
                  <a:lnTo>
                    <a:pt x="103839" y="78218"/>
                  </a:lnTo>
                  <a:cubicBezTo>
                    <a:pt x="96672" y="76353"/>
                    <a:pt x="89309" y="75469"/>
                    <a:pt x="81913" y="75601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7" name="Frihandsfigur: Form 86">
              <a:extLst>
                <a:ext uri="{FF2B5EF4-FFF2-40B4-BE49-F238E27FC236}">
                  <a16:creationId xmlns:a16="http://schemas.microsoft.com/office/drawing/2014/main" id="{D240D5F6-1B4B-47E5-8127-375490607206}"/>
                </a:ext>
              </a:extLst>
            </p:cNvPr>
            <p:cNvSpPr/>
            <p:nvPr/>
          </p:nvSpPr>
          <p:spPr>
            <a:xfrm>
              <a:off x="4639782" y="1714278"/>
              <a:ext cx="164323" cy="243476"/>
            </a:xfrm>
            <a:custGeom>
              <a:avLst/>
              <a:gdLst>
                <a:gd name="connsiteX0" fmla="*/ 147727 w 164323"/>
                <a:gd name="connsiteY0" fmla="*/ 29431 h 243476"/>
                <a:gd name="connsiteX1" fmla="*/ 57405 w 164323"/>
                <a:gd name="connsiteY1" fmla="*/ 29431 h 243476"/>
                <a:gd name="connsiteX2" fmla="*/ 48569 w 164323"/>
                <a:gd name="connsiteY2" fmla="*/ 104045 h 243476"/>
                <a:gd name="connsiteX3" fmla="*/ 133982 w 164323"/>
                <a:gd name="connsiteY3" fmla="*/ 104045 h 243476"/>
                <a:gd name="connsiteX4" fmla="*/ 146746 w 164323"/>
                <a:gd name="connsiteY4" fmla="*/ 116154 h 243476"/>
                <a:gd name="connsiteX5" fmla="*/ 146746 w 164323"/>
                <a:gd name="connsiteY5" fmla="*/ 116481 h 243476"/>
                <a:gd name="connsiteX6" fmla="*/ 129728 w 164323"/>
                <a:gd name="connsiteY6" fmla="*/ 133499 h 243476"/>
                <a:gd name="connsiteX7" fmla="*/ 43987 w 164323"/>
                <a:gd name="connsiteY7" fmla="*/ 133499 h 243476"/>
                <a:gd name="connsiteX8" fmla="*/ 35806 w 164323"/>
                <a:gd name="connsiteY8" fmla="*/ 213675 h 243476"/>
                <a:gd name="connsiteX9" fmla="*/ 133982 w 164323"/>
                <a:gd name="connsiteY9" fmla="*/ 213675 h 243476"/>
                <a:gd name="connsiteX10" fmla="*/ 147072 w 164323"/>
                <a:gd name="connsiteY10" fmla="*/ 226111 h 243476"/>
                <a:gd name="connsiteX11" fmla="*/ 147072 w 164323"/>
                <a:gd name="connsiteY11" fmla="*/ 226439 h 243476"/>
                <a:gd name="connsiteX12" fmla="*/ 130055 w 164323"/>
                <a:gd name="connsiteY12" fmla="*/ 243128 h 243476"/>
                <a:gd name="connsiteX13" fmla="*/ 14207 w 164323"/>
                <a:gd name="connsiteY13" fmla="*/ 243128 h 243476"/>
                <a:gd name="connsiteX14" fmla="*/ -225 w 164323"/>
                <a:gd name="connsiteY14" fmla="*/ 228107 h 243476"/>
                <a:gd name="connsiteX15" fmla="*/ -192 w 164323"/>
                <a:gd name="connsiteY15" fmla="*/ 227420 h 243476"/>
                <a:gd name="connsiteX16" fmla="*/ -192 w 164323"/>
                <a:gd name="connsiteY16" fmla="*/ 225783 h 243476"/>
                <a:gd name="connsiteX17" fmla="*/ 25334 w 164323"/>
                <a:gd name="connsiteY17" fmla="*/ 18305 h 243476"/>
                <a:gd name="connsiteX18" fmla="*/ 45297 w 164323"/>
                <a:gd name="connsiteY18" fmla="*/ -349 h 243476"/>
                <a:gd name="connsiteX19" fmla="*/ 152308 w 164323"/>
                <a:gd name="connsiteY19" fmla="*/ -349 h 243476"/>
                <a:gd name="connsiteX20" fmla="*/ 164090 w 164323"/>
                <a:gd name="connsiteY20" fmla="*/ 12055 h 243476"/>
                <a:gd name="connsiteX21" fmla="*/ 164090 w 164323"/>
                <a:gd name="connsiteY21" fmla="*/ 12415 h 243476"/>
                <a:gd name="connsiteX22" fmla="*/ 147727 w 164323"/>
                <a:gd name="connsiteY22" fmla="*/ 29431 h 24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4323" h="243476">
                  <a:moveTo>
                    <a:pt x="147727" y="29431"/>
                  </a:moveTo>
                  <a:lnTo>
                    <a:pt x="57405" y="29431"/>
                  </a:lnTo>
                  <a:lnTo>
                    <a:pt x="48569" y="104045"/>
                  </a:lnTo>
                  <a:lnTo>
                    <a:pt x="133982" y="104045"/>
                  </a:lnTo>
                  <a:cubicBezTo>
                    <a:pt x="140854" y="103849"/>
                    <a:pt x="146549" y="109281"/>
                    <a:pt x="146746" y="116154"/>
                  </a:cubicBezTo>
                  <a:cubicBezTo>
                    <a:pt x="146746" y="116252"/>
                    <a:pt x="146746" y="116383"/>
                    <a:pt x="146746" y="116481"/>
                  </a:cubicBezTo>
                  <a:cubicBezTo>
                    <a:pt x="146254" y="125677"/>
                    <a:pt x="138924" y="133007"/>
                    <a:pt x="129728" y="133499"/>
                  </a:cubicBezTo>
                  <a:lnTo>
                    <a:pt x="43987" y="133499"/>
                  </a:lnTo>
                  <a:lnTo>
                    <a:pt x="35806" y="213675"/>
                  </a:lnTo>
                  <a:lnTo>
                    <a:pt x="133982" y="213675"/>
                  </a:lnTo>
                  <a:cubicBezTo>
                    <a:pt x="141018" y="213479"/>
                    <a:pt x="146876" y="219075"/>
                    <a:pt x="147072" y="226111"/>
                  </a:cubicBezTo>
                  <a:cubicBezTo>
                    <a:pt x="147072" y="226209"/>
                    <a:pt x="147072" y="226340"/>
                    <a:pt x="147072" y="226439"/>
                  </a:cubicBezTo>
                  <a:cubicBezTo>
                    <a:pt x="146582" y="235569"/>
                    <a:pt x="139185" y="242801"/>
                    <a:pt x="130055" y="243128"/>
                  </a:cubicBezTo>
                  <a:lnTo>
                    <a:pt x="14207" y="243128"/>
                  </a:lnTo>
                  <a:cubicBezTo>
                    <a:pt x="6092" y="242965"/>
                    <a:pt x="-388" y="236256"/>
                    <a:pt x="-225" y="228107"/>
                  </a:cubicBezTo>
                  <a:cubicBezTo>
                    <a:pt x="-225" y="227879"/>
                    <a:pt x="-192" y="227649"/>
                    <a:pt x="-192" y="227420"/>
                  </a:cubicBezTo>
                  <a:lnTo>
                    <a:pt x="-192" y="225783"/>
                  </a:lnTo>
                  <a:lnTo>
                    <a:pt x="25334" y="18305"/>
                  </a:lnTo>
                  <a:cubicBezTo>
                    <a:pt x="26840" y="8193"/>
                    <a:pt x="35119" y="470"/>
                    <a:pt x="45297" y="-349"/>
                  </a:cubicBezTo>
                  <a:lnTo>
                    <a:pt x="152308" y="-349"/>
                  </a:lnTo>
                  <a:cubicBezTo>
                    <a:pt x="158985" y="-185"/>
                    <a:pt x="164286" y="5379"/>
                    <a:pt x="164090" y="12055"/>
                  </a:cubicBezTo>
                  <a:cubicBezTo>
                    <a:pt x="164090" y="12186"/>
                    <a:pt x="164090" y="12284"/>
                    <a:pt x="164090" y="12415"/>
                  </a:cubicBezTo>
                  <a:cubicBezTo>
                    <a:pt x="164090" y="21578"/>
                    <a:pt x="156857" y="29072"/>
                    <a:pt x="147727" y="29431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8" name="Frihandsfigur: Form 87">
              <a:extLst>
                <a:ext uri="{FF2B5EF4-FFF2-40B4-BE49-F238E27FC236}">
                  <a16:creationId xmlns:a16="http://schemas.microsoft.com/office/drawing/2014/main" id="{5A0102DF-3C35-44D5-94F7-19174B41CA96}"/>
                </a:ext>
              </a:extLst>
            </p:cNvPr>
            <p:cNvSpPr/>
            <p:nvPr/>
          </p:nvSpPr>
          <p:spPr>
            <a:xfrm>
              <a:off x="4803740" y="1750603"/>
              <a:ext cx="101481" cy="209615"/>
            </a:xfrm>
            <a:custGeom>
              <a:avLst/>
              <a:gdLst>
                <a:gd name="connsiteX0" fmla="*/ 100926 w 101481"/>
                <a:gd name="connsiteY0" fmla="*/ 79829 h 209615"/>
                <a:gd name="connsiteX1" fmla="*/ 85218 w 101481"/>
                <a:gd name="connsiteY1" fmla="*/ 93900 h 209615"/>
                <a:gd name="connsiteX2" fmla="*/ 61329 w 101481"/>
                <a:gd name="connsiteY2" fmla="*/ 93900 h 209615"/>
                <a:gd name="connsiteX3" fmla="*/ 54783 w 101481"/>
                <a:gd name="connsiteY3" fmla="*/ 148551 h 209615"/>
                <a:gd name="connsiteX4" fmla="*/ 54783 w 101481"/>
                <a:gd name="connsiteY4" fmla="*/ 157060 h 209615"/>
                <a:gd name="connsiteX5" fmla="*/ 73437 w 101481"/>
                <a:gd name="connsiteY5" fmla="*/ 180295 h 209615"/>
                <a:gd name="connsiteX6" fmla="*/ 79000 w 101481"/>
                <a:gd name="connsiteY6" fmla="*/ 180295 h 209615"/>
                <a:gd name="connsiteX7" fmla="*/ 91763 w 101481"/>
                <a:gd name="connsiteY7" fmla="*/ 191716 h 209615"/>
                <a:gd name="connsiteX8" fmla="*/ 91763 w 101481"/>
                <a:gd name="connsiteY8" fmla="*/ 192731 h 209615"/>
                <a:gd name="connsiteX9" fmla="*/ 64602 w 101481"/>
                <a:gd name="connsiteY9" fmla="*/ 209093 h 209615"/>
                <a:gd name="connsiteX10" fmla="*/ 21502 w 101481"/>
                <a:gd name="connsiteY10" fmla="*/ 173325 h 209615"/>
                <a:gd name="connsiteX11" fmla="*/ 21404 w 101481"/>
                <a:gd name="connsiteY11" fmla="*/ 167532 h 209615"/>
                <a:gd name="connsiteX12" fmla="*/ 21404 w 101481"/>
                <a:gd name="connsiteY12" fmla="*/ 154442 h 209615"/>
                <a:gd name="connsiteX13" fmla="*/ 28930 w 101481"/>
                <a:gd name="connsiteY13" fmla="*/ 93900 h 209615"/>
                <a:gd name="connsiteX14" fmla="*/ 11586 w 101481"/>
                <a:gd name="connsiteY14" fmla="*/ 93900 h 209615"/>
                <a:gd name="connsiteX15" fmla="*/ -228 w 101481"/>
                <a:gd name="connsiteY15" fmla="*/ 82152 h 209615"/>
                <a:gd name="connsiteX16" fmla="*/ -195 w 101481"/>
                <a:gd name="connsiteY16" fmla="*/ 81465 h 209615"/>
                <a:gd name="connsiteX17" fmla="*/ -195 w 101481"/>
                <a:gd name="connsiteY17" fmla="*/ 79829 h 209615"/>
                <a:gd name="connsiteX18" fmla="*/ 32530 w 101481"/>
                <a:gd name="connsiteY18" fmla="*/ 66084 h 209615"/>
                <a:gd name="connsiteX19" fmla="*/ 38093 w 101481"/>
                <a:gd name="connsiteY19" fmla="*/ 16014 h 209615"/>
                <a:gd name="connsiteX20" fmla="*/ 56747 w 101481"/>
                <a:gd name="connsiteY20" fmla="*/ -349 h 209615"/>
                <a:gd name="connsiteX21" fmla="*/ 70818 w 101481"/>
                <a:gd name="connsiteY21" fmla="*/ 13723 h 209615"/>
                <a:gd name="connsiteX22" fmla="*/ 70818 w 101481"/>
                <a:gd name="connsiteY22" fmla="*/ 16014 h 209615"/>
                <a:gd name="connsiteX23" fmla="*/ 64602 w 101481"/>
                <a:gd name="connsiteY23" fmla="*/ 66084 h 209615"/>
                <a:gd name="connsiteX24" fmla="*/ 88490 w 101481"/>
                <a:gd name="connsiteY24" fmla="*/ 66084 h 209615"/>
                <a:gd name="connsiteX25" fmla="*/ 101254 w 101481"/>
                <a:gd name="connsiteY25" fmla="*/ 78192 h 209615"/>
                <a:gd name="connsiteX26" fmla="*/ 101254 w 101481"/>
                <a:gd name="connsiteY26" fmla="*/ 78519 h 209615"/>
                <a:gd name="connsiteX27" fmla="*/ 100926 w 101481"/>
                <a:gd name="connsiteY27" fmla="*/ 79829 h 209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481" h="209615">
                  <a:moveTo>
                    <a:pt x="100926" y="79829"/>
                  </a:moveTo>
                  <a:cubicBezTo>
                    <a:pt x="99814" y="87715"/>
                    <a:pt x="93170" y="93671"/>
                    <a:pt x="85218" y="93900"/>
                  </a:cubicBezTo>
                  <a:lnTo>
                    <a:pt x="61329" y="93900"/>
                  </a:lnTo>
                  <a:lnTo>
                    <a:pt x="54783" y="148551"/>
                  </a:lnTo>
                  <a:cubicBezTo>
                    <a:pt x="54620" y="151398"/>
                    <a:pt x="54620" y="154213"/>
                    <a:pt x="54783" y="157060"/>
                  </a:cubicBezTo>
                  <a:cubicBezTo>
                    <a:pt x="54783" y="169823"/>
                    <a:pt x="59365" y="180295"/>
                    <a:pt x="73437" y="180295"/>
                  </a:cubicBezTo>
                  <a:lnTo>
                    <a:pt x="79000" y="180295"/>
                  </a:lnTo>
                  <a:cubicBezTo>
                    <a:pt x="85676" y="179935"/>
                    <a:pt x="91371" y="185041"/>
                    <a:pt x="91763" y="191716"/>
                  </a:cubicBezTo>
                  <a:cubicBezTo>
                    <a:pt x="91763" y="192076"/>
                    <a:pt x="91763" y="192403"/>
                    <a:pt x="91763" y="192731"/>
                  </a:cubicBezTo>
                  <a:cubicBezTo>
                    <a:pt x="91763" y="206476"/>
                    <a:pt x="75728" y="209093"/>
                    <a:pt x="64602" y="209093"/>
                  </a:cubicBezTo>
                  <a:cubicBezTo>
                    <a:pt x="42839" y="211123"/>
                    <a:pt x="23531" y="195086"/>
                    <a:pt x="21502" y="173325"/>
                  </a:cubicBezTo>
                  <a:cubicBezTo>
                    <a:pt x="21338" y="171393"/>
                    <a:pt x="21305" y="169463"/>
                    <a:pt x="21404" y="167532"/>
                  </a:cubicBezTo>
                  <a:cubicBezTo>
                    <a:pt x="21404" y="163278"/>
                    <a:pt x="21404" y="158369"/>
                    <a:pt x="21404" y="154442"/>
                  </a:cubicBezTo>
                  <a:lnTo>
                    <a:pt x="28930" y="93900"/>
                  </a:lnTo>
                  <a:lnTo>
                    <a:pt x="11586" y="93900"/>
                  </a:lnTo>
                  <a:cubicBezTo>
                    <a:pt x="5074" y="93900"/>
                    <a:pt x="-195" y="88631"/>
                    <a:pt x="-228" y="82152"/>
                  </a:cubicBezTo>
                  <a:cubicBezTo>
                    <a:pt x="-228" y="81923"/>
                    <a:pt x="-195" y="81693"/>
                    <a:pt x="-195" y="81465"/>
                  </a:cubicBezTo>
                  <a:lnTo>
                    <a:pt x="-195" y="79829"/>
                  </a:lnTo>
                  <a:cubicBezTo>
                    <a:pt x="2096" y="62811"/>
                    <a:pt x="20422" y="66084"/>
                    <a:pt x="32530" y="66084"/>
                  </a:cubicBezTo>
                  <a:lnTo>
                    <a:pt x="38093" y="16014"/>
                  </a:lnTo>
                  <a:cubicBezTo>
                    <a:pt x="39763" y="6884"/>
                    <a:pt x="47486" y="110"/>
                    <a:pt x="56747" y="-349"/>
                  </a:cubicBezTo>
                  <a:cubicBezTo>
                    <a:pt x="64503" y="-349"/>
                    <a:pt x="70818" y="5967"/>
                    <a:pt x="70818" y="13723"/>
                  </a:cubicBezTo>
                  <a:cubicBezTo>
                    <a:pt x="70818" y="13723"/>
                    <a:pt x="70818" y="15360"/>
                    <a:pt x="70818" y="16014"/>
                  </a:cubicBezTo>
                  <a:lnTo>
                    <a:pt x="64602" y="66084"/>
                  </a:lnTo>
                  <a:lnTo>
                    <a:pt x="88490" y="66084"/>
                  </a:lnTo>
                  <a:cubicBezTo>
                    <a:pt x="95362" y="65887"/>
                    <a:pt x="101057" y="71320"/>
                    <a:pt x="101254" y="78192"/>
                  </a:cubicBezTo>
                  <a:cubicBezTo>
                    <a:pt x="101254" y="78290"/>
                    <a:pt x="101254" y="78422"/>
                    <a:pt x="101254" y="78519"/>
                  </a:cubicBezTo>
                  <a:cubicBezTo>
                    <a:pt x="101254" y="78519"/>
                    <a:pt x="100926" y="79174"/>
                    <a:pt x="100926" y="7982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89" name="Frihandsfigur: Form 88">
              <a:extLst>
                <a:ext uri="{FF2B5EF4-FFF2-40B4-BE49-F238E27FC236}">
                  <a16:creationId xmlns:a16="http://schemas.microsoft.com/office/drawing/2014/main" id="{3ACECC11-3F51-47E6-AFC8-BB4F02AD4739}"/>
                </a:ext>
              </a:extLst>
            </p:cNvPr>
            <p:cNvSpPr/>
            <p:nvPr/>
          </p:nvSpPr>
          <p:spPr>
            <a:xfrm>
              <a:off x="4911112" y="1750603"/>
              <a:ext cx="101775" cy="209608"/>
            </a:xfrm>
            <a:custGeom>
              <a:avLst/>
              <a:gdLst>
                <a:gd name="connsiteX0" fmla="*/ 100893 w 101775"/>
                <a:gd name="connsiteY0" fmla="*/ 79829 h 209608"/>
                <a:gd name="connsiteX1" fmla="*/ 84858 w 101775"/>
                <a:gd name="connsiteY1" fmla="*/ 93900 h 209608"/>
                <a:gd name="connsiteX2" fmla="*/ 60968 w 101775"/>
                <a:gd name="connsiteY2" fmla="*/ 93900 h 209608"/>
                <a:gd name="connsiteX3" fmla="*/ 54750 w 101775"/>
                <a:gd name="connsiteY3" fmla="*/ 148551 h 209608"/>
                <a:gd name="connsiteX4" fmla="*/ 54750 w 101775"/>
                <a:gd name="connsiteY4" fmla="*/ 157060 h 209608"/>
                <a:gd name="connsiteX5" fmla="*/ 73404 w 101775"/>
                <a:gd name="connsiteY5" fmla="*/ 180295 h 209608"/>
                <a:gd name="connsiteX6" fmla="*/ 78967 w 101775"/>
                <a:gd name="connsiteY6" fmla="*/ 180295 h 209608"/>
                <a:gd name="connsiteX7" fmla="*/ 91730 w 101775"/>
                <a:gd name="connsiteY7" fmla="*/ 191716 h 209608"/>
                <a:gd name="connsiteX8" fmla="*/ 91730 w 101775"/>
                <a:gd name="connsiteY8" fmla="*/ 192731 h 209608"/>
                <a:gd name="connsiteX9" fmla="*/ 64895 w 101775"/>
                <a:gd name="connsiteY9" fmla="*/ 209093 h 209608"/>
                <a:gd name="connsiteX10" fmla="*/ 21502 w 101775"/>
                <a:gd name="connsiteY10" fmla="*/ 172964 h 209608"/>
                <a:gd name="connsiteX11" fmla="*/ 21371 w 101775"/>
                <a:gd name="connsiteY11" fmla="*/ 167532 h 209608"/>
                <a:gd name="connsiteX12" fmla="*/ 21371 w 101775"/>
                <a:gd name="connsiteY12" fmla="*/ 154442 h 209608"/>
                <a:gd name="connsiteX13" fmla="*/ 29225 w 101775"/>
                <a:gd name="connsiteY13" fmla="*/ 93900 h 209608"/>
                <a:gd name="connsiteX14" fmla="*/ 11880 w 101775"/>
                <a:gd name="connsiteY14" fmla="*/ 93900 h 209608"/>
                <a:gd name="connsiteX15" fmla="*/ -228 w 101775"/>
                <a:gd name="connsiteY15" fmla="*/ 81792 h 209608"/>
                <a:gd name="connsiteX16" fmla="*/ -228 w 101775"/>
                <a:gd name="connsiteY16" fmla="*/ 81465 h 209608"/>
                <a:gd name="connsiteX17" fmla="*/ -228 w 101775"/>
                <a:gd name="connsiteY17" fmla="*/ 79829 h 209608"/>
                <a:gd name="connsiteX18" fmla="*/ 32497 w 101775"/>
                <a:gd name="connsiteY18" fmla="*/ 66084 h 209608"/>
                <a:gd name="connsiteX19" fmla="*/ 38388 w 101775"/>
                <a:gd name="connsiteY19" fmla="*/ 16014 h 209608"/>
                <a:gd name="connsiteX20" fmla="*/ 57041 w 101775"/>
                <a:gd name="connsiteY20" fmla="*/ -349 h 209608"/>
                <a:gd name="connsiteX21" fmla="*/ 71113 w 101775"/>
                <a:gd name="connsiteY21" fmla="*/ 13723 h 209608"/>
                <a:gd name="connsiteX22" fmla="*/ 71113 w 101775"/>
                <a:gd name="connsiteY22" fmla="*/ 16014 h 209608"/>
                <a:gd name="connsiteX23" fmla="*/ 64895 w 101775"/>
                <a:gd name="connsiteY23" fmla="*/ 66084 h 209608"/>
                <a:gd name="connsiteX24" fmla="*/ 88785 w 101775"/>
                <a:gd name="connsiteY24" fmla="*/ 66084 h 209608"/>
                <a:gd name="connsiteX25" fmla="*/ 101547 w 101775"/>
                <a:gd name="connsiteY25" fmla="*/ 78192 h 209608"/>
                <a:gd name="connsiteX26" fmla="*/ 101547 w 101775"/>
                <a:gd name="connsiteY26" fmla="*/ 78519 h 209608"/>
                <a:gd name="connsiteX27" fmla="*/ 100893 w 101775"/>
                <a:gd name="connsiteY27" fmla="*/ 79829 h 20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775" h="209608">
                  <a:moveTo>
                    <a:pt x="100893" y="79829"/>
                  </a:moveTo>
                  <a:cubicBezTo>
                    <a:pt x="99519" y="87715"/>
                    <a:pt x="92843" y="93573"/>
                    <a:pt x="84858" y="93900"/>
                  </a:cubicBezTo>
                  <a:lnTo>
                    <a:pt x="60968" y="93900"/>
                  </a:lnTo>
                  <a:lnTo>
                    <a:pt x="54750" y="148551"/>
                  </a:lnTo>
                  <a:cubicBezTo>
                    <a:pt x="54423" y="151365"/>
                    <a:pt x="54423" y="154246"/>
                    <a:pt x="54750" y="157060"/>
                  </a:cubicBezTo>
                  <a:cubicBezTo>
                    <a:pt x="54750" y="169823"/>
                    <a:pt x="59332" y="180295"/>
                    <a:pt x="73404" y="180295"/>
                  </a:cubicBezTo>
                  <a:lnTo>
                    <a:pt x="78967" y="180295"/>
                  </a:lnTo>
                  <a:cubicBezTo>
                    <a:pt x="85643" y="179935"/>
                    <a:pt x="91338" y="185041"/>
                    <a:pt x="91730" y="191716"/>
                  </a:cubicBezTo>
                  <a:cubicBezTo>
                    <a:pt x="91730" y="192076"/>
                    <a:pt x="91730" y="192403"/>
                    <a:pt x="91730" y="192731"/>
                  </a:cubicBezTo>
                  <a:cubicBezTo>
                    <a:pt x="91730" y="206476"/>
                    <a:pt x="76022" y="209093"/>
                    <a:pt x="64895" y="209093"/>
                  </a:cubicBezTo>
                  <a:cubicBezTo>
                    <a:pt x="42937" y="211090"/>
                    <a:pt x="23498" y="194924"/>
                    <a:pt x="21502" y="172964"/>
                  </a:cubicBezTo>
                  <a:cubicBezTo>
                    <a:pt x="21338" y="171165"/>
                    <a:pt x="21272" y="169332"/>
                    <a:pt x="21371" y="167532"/>
                  </a:cubicBezTo>
                  <a:cubicBezTo>
                    <a:pt x="21371" y="163278"/>
                    <a:pt x="21371" y="158369"/>
                    <a:pt x="21371" y="154442"/>
                  </a:cubicBezTo>
                  <a:lnTo>
                    <a:pt x="29225" y="93900"/>
                  </a:lnTo>
                  <a:lnTo>
                    <a:pt x="11880" y="93900"/>
                  </a:lnTo>
                  <a:cubicBezTo>
                    <a:pt x="5204" y="93900"/>
                    <a:pt x="-228" y="88467"/>
                    <a:pt x="-228" y="81792"/>
                  </a:cubicBezTo>
                  <a:cubicBezTo>
                    <a:pt x="-228" y="81693"/>
                    <a:pt x="-228" y="81562"/>
                    <a:pt x="-228" y="81465"/>
                  </a:cubicBezTo>
                  <a:lnTo>
                    <a:pt x="-228" y="79829"/>
                  </a:lnTo>
                  <a:cubicBezTo>
                    <a:pt x="2063" y="62811"/>
                    <a:pt x="20389" y="66084"/>
                    <a:pt x="32497" y="66084"/>
                  </a:cubicBezTo>
                  <a:lnTo>
                    <a:pt x="38388" y="16014"/>
                  </a:lnTo>
                  <a:cubicBezTo>
                    <a:pt x="39926" y="6818"/>
                    <a:pt x="47715" y="-21"/>
                    <a:pt x="57041" y="-349"/>
                  </a:cubicBezTo>
                  <a:cubicBezTo>
                    <a:pt x="64797" y="-349"/>
                    <a:pt x="71113" y="5967"/>
                    <a:pt x="71113" y="13723"/>
                  </a:cubicBezTo>
                  <a:cubicBezTo>
                    <a:pt x="71113" y="13723"/>
                    <a:pt x="71113" y="15360"/>
                    <a:pt x="71113" y="16014"/>
                  </a:cubicBezTo>
                  <a:lnTo>
                    <a:pt x="64895" y="66084"/>
                  </a:lnTo>
                  <a:lnTo>
                    <a:pt x="88785" y="66084"/>
                  </a:lnTo>
                  <a:cubicBezTo>
                    <a:pt x="95657" y="65887"/>
                    <a:pt x="101352" y="71320"/>
                    <a:pt x="101547" y="78192"/>
                  </a:cubicBezTo>
                  <a:cubicBezTo>
                    <a:pt x="101547" y="78290"/>
                    <a:pt x="101547" y="78422"/>
                    <a:pt x="101547" y="78519"/>
                  </a:cubicBezTo>
                  <a:cubicBezTo>
                    <a:pt x="101547" y="78519"/>
                    <a:pt x="100893" y="79174"/>
                    <a:pt x="100893" y="7982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0" name="Frihandsfigur: Form 89">
              <a:extLst>
                <a:ext uri="{FF2B5EF4-FFF2-40B4-BE49-F238E27FC236}">
                  <a16:creationId xmlns:a16="http://schemas.microsoft.com/office/drawing/2014/main" id="{1B31D704-6CD4-416B-A3AE-70E3D26ED26F}"/>
                </a:ext>
              </a:extLst>
            </p:cNvPr>
            <p:cNvSpPr/>
            <p:nvPr/>
          </p:nvSpPr>
          <p:spPr>
            <a:xfrm>
              <a:off x="5086846" y="1712626"/>
              <a:ext cx="59232" cy="249710"/>
            </a:xfrm>
            <a:custGeom>
              <a:avLst/>
              <a:gdLst>
                <a:gd name="connsiteX0" fmla="*/ 32170 w 59232"/>
                <a:gd name="connsiteY0" fmla="*/ 232999 h 249710"/>
                <a:gd name="connsiteX1" fmla="*/ 13844 w 59232"/>
                <a:gd name="connsiteY1" fmla="*/ 249361 h 249710"/>
                <a:gd name="connsiteX2" fmla="*/ -228 w 59232"/>
                <a:gd name="connsiteY2" fmla="*/ 235290 h 249710"/>
                <a:gd name="connsiteX3" fmla="*/ 26607 w 59232"/>
                <a:gd name="connsiteY3" fmla="*/ 15702 h 249710"/>
                <a:gd name="connsiteX4" fmla="*/ 44606 w 59232"/>
                <a:gd name="connsiteY4" fmla="*/ -333 h 249710"/>
                <a:gd name="connsiteX5" fmla="*/ 59005 w 59232"/>
                <a:gd name="connsiteY5" fmla="*/ 12725 h 249710"/>
                <a:gd name="connsiteX6" fmla="*/ 59005 w 59232"/>
                <a:gd name="connsiteY6" fmla="*/ 13739 h 249710"/>
                <a:gd name="connsiteX7" fmla="*/ 32170 w 59232"/>
                <a:gd name="connsiteY7" fmla="*/ 232999 h 24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232" h="249710">
                  <a:moveTo>
                    <a:pt x="32170" y="232999"/>
                  </a:moveTo>
                  <a:cubicBezTo>
                    <a:pt x="30894" y="242195"/>
                    <a:pt x="23138" y="249133"/>
                    <a:pt x="13844" y="249361"/>
                  </a:cubicBezTo>
                  <a:cubicBezTo>
                    <a:pt x="6088" y="249361"/>
                    <a:pt x="-228" y="243046"/>
                    <a:pt x="-228" y="235290"/>
                  </a:cubicBezTo>
                  <a:cubicBezTo>
                    <a:pt x="-228" y="235290"/>
                    <a:pt x="-228" y="235290"/>
                    <a:pt x="26607" y="15702"/>
                  </a:cubicBezTo>
                  <a:cubicBezTo>
                    <a:pt x="28014" y="6736"/>
                    <a:pt x="35541" y="28"/>
                    <a:pt x="44606" y="-333"/>
                  </a:cubicBezTo>
                  <a:cubicBezTo>
                    <a:pt x="52198" y="-693"/>
                    <a:pt x="58645" y="5165"/>
                    <a:pt x="59005" y="12725"/>
                  </a:cubicBezTo>
                  <a:cubicBezTo>
                    <a:pt x="59005" y="13084"/>
                    <a:pt x="59005" y="13412"/>
                    <a:pt x="59005" y="13739"/>
                  </a:cubicBezTo>
                  <a:cubicBezTo>
                    <a:pt x="59005" y="13739"/>
                    <a:pt x="58677" y="15048"/>
                    <a:pt x="32170" y="23299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1" name="Frihandsfigur: Form 90">
              <a:extLst>
                <a:ext uri="{FF2B5EF4-FFF2-40B4-BE49-F238E27FC236}">
                  <a16:creationId xmlns:a16="http://schemas.microsoft.com/office/drawing/2014/main" id="{8AFA91C1-C5BD-44C5-A7FA-92A8D7B4DFEC}"/>
                </a:ext>
              </a:extLst>
            </p:cNvPr>
            <p:cNvSpPr/>
            <p:nvPr/>
          </p:nvSpPr>
          <p:spPr>
            <a:xfrm>
              <a:off x="5158515" y="1740131"/>
              <a:ext cx="59560" cy="222205"/>
            </a:xfrm>
            <a:custGeom>
              <a:avLst/>
              <a:gdLst>
                <a:gd name="connsiteX0" fmla="*/ 32170 w 59560"/>
                <a:gd name="connsiteY0" fmla="*/ 205166 h 222205"/>
                <a:gd name="connsiteX1" fmla="*/ 13844 w 59560"/>
                <a:gd name="connsiteY1" fmla="*/ 221857 h 222205"/>
                <a:gd name="connsiteX2" fmla="*/ -228 w 59560"/>
                <a:gd name="connsiteY2" fmla="*/ 207785 h 222205"/>
                <a:gd name="connsiteX3" fmla="*/ -228 w 59560"/>
                <a:gd name="connsiteY3" fmla="*/ 207457 h 222205"/>
                <a:gd name="connsiteX4" fmla="*/ 14499 w 59560"/>
                <a:gd name="connsiteY4" fmla="*/ 85719 h 222205"/>
                <a:gd name="connsiteX5" fmla="*/ 32497 w 59560"/>
                <a:gd name="connsiteY5" fmla="*/ 69684 h 222205"/>
                <a:gd name="connsiteX6" fmla="*/ 47224 w 59560"/>
                <a:gd name="connsiteY6" fmla="*/ 83068 h 222205"/>
                <a:gd name="connsiteX7" fmla="*/ 47224 w 59560"/>
                <a:gd name="connsiteY7" fmla="*/ 83428 h 222205"/>
                <a:gd name="connsiteX8" fmla="*/ 32170 w 59560"/>
                <a:gd name="connsiteY8" fmla="*/ 205166 h 222205"/>
                <a:gd name="connsiteX9" fmla="*/ 38388 w 59560"/>
                <a:gd name="connsiteY9" fmla="*/ 41540 h 222205"/>
                <a:gd name="connsiteX10" fmla="*/ 17444 w 59560"/>
                <a:gd name="connsiteY10" fmla="*/ 20596 h 222205"/>
                <a:gd name="connsiteX11" fmla="*/ 38388 w 59560"/>
                <a:gd name="connsiteY11" fmla="*/ -349 h 222205"/>
                <a:gd name="connsiteX12" fmla="*/ 59332 w 59560"/>
                <a:gd name="connsiteY12" fmla="*/ 20596 h 222205"/>
                <a:gd name="connsiteX13" fmla="*/ 59332 w 59560"/>
                <a:gd name="connsiteY13" fmla="*/ 20923 h 222205"/>
                <a:gd name="connsiteX14" fmla="*/ 38388 w 59560"/>
                <a:gd name="connsiteY14" fmla="*/ 41213 h 222205"/>
                <a:gd name="connsiteX15" fmla="*/ 38388 w 59560"/>
                <a:gd name="connsiteY15" fmla="*/ 41213 h 22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560" h="222205">
                  <a:moveTo>
                    <a:pt x="32170" y="205166"/>
                  </a:moveTo>
                  <a:cubicBezTo>
                    <a:pt x="30796" y="214362"/>
                    <a:pt x="23138" y="221333"/>
                    <a:pt x="13844" y="221857"/>
                  </a:cubicBezTo>
                  <a:cubicBezTo>
                    <a:pt x="6088" y="221857"/>
                    <a:pt x="-228" y="215573"/>
                    <a:pt x="-228" y="207785"/>
                  </a:cubicBezTo>
                  <a:cubicBezTo>
                    <a:pt x="-228" y="207686"/>
                    <a:pt x="-228" y="207555"/>
                    <a:pt x="-228" y="207457"/>
                  </a:cubicBezTo>
                  <a:cubicBezTo>
                    <a:pt x="-228" y="207457"/>
                    <a:pt x="-228" y="205821"/>
                    <a:pt x="14499" y="85719"/>
                  </a:cubicBezTo>
                  <a:cubicBezTo>
                    <a:pt x="15906" y="76753"/>
                    <a:pt x="23432" y="70043"/>
                    <a:pt x="32497" y="69684"/>
                  </a:cubicBezTo>
                  <a:cubicBezTo>
                    <a:pt x="40253" y="69323"/>
                    <a:pt x="46864" y="75313"/>
                    <a:pt x="47224" y="83068"/>
                  </a:cubicBezTo>
                  <a:cubicBezTo>
                    <a:pt x="47224" y="83199"/>
                    <a:pt x="47224" y="83297"/>
                    <a:pt x="47224" y="83428"/>
                  </a:cubicBezTo>
                  <a:cubicBezTo>
                    <a:pt x="47224" y="83428"/>
                    <a:pt x="47224" y="85065"/>
                    <a:pt x="32170" y="205166"/>
                  </a:cubicBezTo>
                  <a:close/>
                  <a:moveTo>
                    <a:pt x="38388" y="41540"/>
                  </a:moveTo>
                  <a:cubicBezTo>
                    <a:pt x="26836" y="41540"/>
                    <a:pt x="17444" y="32148"/>
                    <a:pt x="17444" y="20596"/>
                  </a:cubicBezTo>
                  <a:cubicBezTo>
                    <a:pt x="17444" y="9011"/>
                    <a:pt x="26836" y="-349"/>
                    <a:pt x="38388" y="-349"/>
                  </a:cubicBezTo>
                  <a:cubicBezTo>
                    <a:pt x="49973" y="-349"/>
                    <a:pt x="59332" y="9044"/>
                    <a:pt x="59332" y="20596"/>
                  </a:cubicBezTo>
                  <a:cubicBezTo>
                    <a:pt x="59332" y="20694"/>
                    <a:pt x="59332" y="20825"/>
                    <a:pt x="59332" y="20923"/>
                  </a:cubicBezTo>
                  <a:cubicBezTo>
                    <a:pt x="59136" y="32312"/>
                    <a:pt x="49777" y="41376"/>
                    <a:pt x="38388" y="41213"/>
                  </a:cubicBezTo>
                  <a:cubicBezTo>
                    <a:pt x="38388" y="41213"/>
                    <a:pt x="38388" y="41213"/>
                    <a:pt x="38388" y="41213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2" name="Frihandsfigur: Form 91">
              <a:extLst>
                <a:ext uri="{FF2B5EF4-FFF2-40B4-BE49-F238E27FC236}">
                  <a16:creationId xmlns:a16="http://schemas.microsoft.com/office/drawing/2014/main" id="{0C8B8245-D4C8-406F-BF49-5B98424B53B7}"/>
                </a:ext>
              </a:extLst>
            </p:cNvPr>
            <p:cNvSpPr/>
            <p:nvPr/>
          </p:nvSpPr>
          <p:spPr>
            <a:xfrm>
              <a:off x="5230061" y="1808161"/>
              <a:ext cx="124152" cy="154507"/>
            </a:xfrm>
            <a:custGeom>
              <a:avLst/>
              <a:gdLst>
                <a:gd name="connsiteX0" fmla="*/ 122287 w 124152"/>
                <a:gd name="connsiteY0" fmla="*/ 20962 h 154507"/>
                <a:gd name="connsiteX1" fmla="*/ 56837 w 124152"/>
                <a:gd name="connsiteY1" fmla="*/ 144009 h 154507"/>
                <a:gd name="connsiteX2" fmla="*/ 40802 w 124152"/>
                <a:gd name="connsiteY2" fmla="*/ 154154 h 154507"/>
                <a:gd name="connsiteX3" fmla="*/ 27384 w 124152"/>
                <a:gd name="connsiteY3" fmla="*/ 143682 h 154507"/>
                <a:gd name="connsiteX4" fmla="*/ -105 w 124152"/>
                <a:gd name="connsiteY4" fmla="*/ 21290 h 154507"/>
                <a:gd name="connsiteX5" fmla="*/ -105 w 124152"/>
                <a:gd name="connsiteY5" fmla="*/ 17689 h 154507"/>
                <a:gd name="connsiteX6" fmla="*/ 16258 w 124152"/>
                <a:gd name="connsiteY6" fmla="*/ -309 h 154507"/>
                <a:gd name="connsiteX7" fmla="*/ 29020 w 124152"/>
                <a:gd name="connsiteY7" fmla="*/ 9508 h 154507"/>
                <a:gd name="connsiteX8" fmla="*/ 48983 w 124152"/>
                <a:gd name="connsiteY8" fmla="*/ 96557 h 154507"/>
                <a:gd name="connsiteX9" fmla="*/ 94798 w 124152"/>
                <a:gd name="connsiteY9" fmla="*/ 9835 h 154507"/>
                <a:gd name="connsiteX10" fmla="*/ 109852 w 124152"/>
                <a:gd name="connsiteY10" fmla="*/ -309 h 154507"/>
                <a:gd name="connsiteX11" fmla="*/ 123891 w 124152"/>
                <a:gd name="connsiteY11" fmla="*/ 11766 h 154507"/>
                <a:gd name="connsiteX12" fmla="*/ 123924 w 124152"/>
                <a:gd name="connsiteY12" fmla="*/ 13108 h 154507"/>
                <a:gd name="connsiteX13" fmla="*/ 122287 w 124152"/>
                <a:gd name="connsiteY13" fmla="*/ 20962 h 15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152" h="154507">
                  <a:moveTo>
                    <a:pt x="122287" y="20962"/>
                  </a:moveTo>
                  <a:lnTo>
                    <a:pt x="56837" y="144009"/>
                  </a:lnTo>
                  <a:cubicBezTo>
                    <a:pt x="53728" y="150064"/>
                    <a:pt x="47609" y="153958"/>
                    <a:pt x="40802" y="154154"/>
                  </a:cubicBezTo>
                  <a:cubicBezTo>
                    <a:pt x="34420" y="154317"/>
                    <a:pt x="28791" y="149933"/>
                    <a:pt x="27384" y="143682"/>
                  </a:cubicBezTo>
                  <a:lnTo>
                    <a:pt x="-105" y="21290"/>
                  </a:lnTo>
                  <a:cubicBezTo>
                    <a:pt x="-269" y="20111"/>
                    <a:pt x="-269" y="18900"/>
                    <a:pt x="-105" y="17689"/>
                  </a:cubicBezTo>
                  <a:cubicBezTo>
                    <a:pt x="-466" y="8232"/>
                    <a:pt x="6800" y="214"/>
                    <a:pt x="16258" y="-309"/>
                  </a:cubicBezTo>
                  <a:cubicBezTo>
                    <a:pt x="22214" y="-244"/>
                    <a:pt x="27417" y="3748"/>
                    <a:pt x="29020" y="9508"/>
                  </a:cubicBezTo>
                  <a:lnTo>
                    <a:pt x="48983" y="96557"/>
                  </a:lnTo>
                  <a:lnTo>
                    <a:pt x="94798" y="9835"/>
                  </a:lnTo>
                  <a:cubicBezTo>
                    <a:pt x="97515" y="3879"/>
                    <a:pt x="103340" y="-48"/>
                    <a:pt x="109852" y="-309"/>
                  </a:cubicBezTo>
                  <a:cubicBezTo>
                    <a:pt x="117051" y="-866"/>
                    <a:pt x="123335" y="4533"/>
                    <a:pt x="123891" y="11766"/>
                  </a:cubicBezTo>
                  <a:cubicBezTo>
                    <a:pt x="123924" y="12191"/>
                    <a:pt x="123924" y="12650"/>
                    <a:pt x="123924" y="13108"/>
                  </a:cubicBezTo>
                  <a:cubicBezTo>
                    <a:pt x="123891" y="15791"/>
                    <a:pt x="123335" y="18474"/>
                    <a:pt x="122287" y="20962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3" name="Frihandsfigur: Form 92">
              <a:extLst>
                <a:ext uri="{FF2B5EF4-FFF2-40B4-BE49-F238E27FC236}">
                  <a16:creationId xmlns:a16="http://schemas.microsoft.com/office/drawing/2014/main" id="{ECC9D82B-8D2B-4854-B6BE-50F7FCFB1FBC}"/>
                </a:ext>
              </a:extLst>
            </p:cNvPr>
            <p:cNvSpPr/>
            <p:nvPr/>
          </p:nvSpPr>
          <p:spPr>
            <a:xfrm>
              <a:off x="4525607" y="2084891"/>
              <a:ext cx="62179" cy="222043"/>
            </a:xfrm>
            <a:custGeom>
              <a:avLst/>
              <a:gdLst>
                <a:gd name="connsiteX0" fmla="*/ 32170 w 62179"/>
                <a:gd name="connsiteY0" fmla="*/ 205004 h 222043"/>
                <a:gd name="connsiteX1" fmla="*/ 13844 w 62179"/>
                <a:gd name="connsiteY1" fmla="*/ 221694 h 222043"/>
                <a:gd name="connsiteX2" fmla="*/ -228 w 62179"/>
                <a:gd name="connsiteY2" fmla="*/ 207623 h 222043"/>
                <a:gd name="connsiteX3" fmla="*/ -228 w 62179"/>
                <a:gd name="connsiteY3" fmla="*/ 207295 h 222043"/>
                <a:gd name="connsiteX4" fmla="*/ 14498 w 62179"/>
                <a:gd name="connsiteY4" fmla="*/ 85557 h 222043"/>
                <a:gd name="connsiteX5" fmla="*/ 32497 w 62179"/>
                <a:gd name="connsiteY5" fmla="*/ 69522 h 222043"/>
                <a:gd name="connsiteX6" fmla="*/ 47223 w 62179"/>
                <a:gd name="connsiteY6" fmla="*/ 82906 h 222043"/>
                <a:gd name="connsiteX7" fmla="*/ 47223 w 62179"/>
                <a:gd name="connsiteY7" fmla="*/ 83266 h 222043"/>
                <a:gd name="connsiteX8" fmla="*/ 32170 w 62179"/>
                <a:gd name="connsiteY8" fmla="*/ 205004 h 222043"/>
                <a:gd name="connsiteX9" fmla="*/ 38388 w 62179"/>
                <a:gd name="connsiteY9" fmla="*/ 41378 h 222043"/>
                <a:gd name="connsiteX10" fmla="*/ 20225 w 62179"/>
                <a:gd name="connsiteY10" fmla="*/ 17979 h 222043"/>
                <a:gd name="connsiteX11" fmla="*/ 38388 w 62179"/>
                <a:gd name="connsiteY11" fmla="*/ -183 h 222043"/>
                <a:gd name="connsiteX12" fmla="*/ 61786 w 62179"/>
                <a:gd name="connsiteY12" fmla="*/ 17979 h 222043"/>
                <a:gd name="connsiteX13" fmla="*/ 43624 w 62179"/>
                <a:gd name="connsiteY13" fmla="*/ 41378 h 222043"/>
                <a:gd name="connsiteX14" fmla="*/ 38388 w 62179"/>
                <a:gd name="connsiteY14" fmla="*/ 41378 h 22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179" h="222043">
                  <a:moveTo>
                    <a:pt x="32170" y="205004"/>
                  </a:moveTo>
                  <a:cubicBezTo>
                    <a:pt x="30665" y="214135"/>
                    <a:pt x="23073" y="221072"/>
                    <a:pt x="13844" y="221694"/>
                  </a:cubicBezTo>
                  <a:cubicBezTo>
                    <a:pt x="6088" y="221694"/>
                    <a:pt x="-228" y="215412"/>
                    <a:pt x="-228" y="207623"/>
                  </a:cubicBezTo>
                  <a:cubicBezTo>
                    <a:pt x="-228" y="207524"/>
                    <a:pt x="-228" y="207393"/>
                    <a:pt x="-228" y="207295"/>
                  </a:cubicBezTo>
                  <a:cubicBezTo>
                    <a:pt x="-228" y="207295"/>
                    <a:pt x="-228" y="207295"/>
                    <a:pt x="14498" y="85557"/>
                  </a:cubicBezTo>
                  <a:cubicBezTo>
                    <a:pt x="15643" y="76460"/>
                    <a:pt x="23334" y="69620"/>
                    <a:pt x="32497" y="69522"/>
                  </a:cubicBezTo>
                  <a:cubicBezTo>
                    <a:pt x="40253" y="69161"/>
                    <a:pt x="46864" y="75151"/>
                    <a:pt x="47223" y="82906"/>
                  </a:cubicBezTo>
                  <a:cubicBezTo>
                    <a:pt x="47223" y="83037"/>
                    <a:pt x="47223" y="83135"/>
                    <a:pt x="47223" y="83266"/>
                  </a:cubicBezTo>
                  <a:cubicBezTo>
                    <a:pt x="47223" y="83266"/>
                    <a:pt x="47223" y="84903"/>
                    <a:pt x="32170" y="205004"/>
                  </a:cubicBezTo>
                  <a:close/>
                  <a:moveTo>
                    <a:pt x="38388" y="41378"/>
                  </a:moveTo>
                  <a:cubicBezTo>
                    <a:pt x="26902" y="39937"/>
                    <a:pt x="18785" y="29466"/>
                    <a:pt x="20225" y="17979"/>
                  </a:cubicBezTo>
                  <a:cubicBezTo>
                    <a:pt x="21404" y="8488"/>
                    <a:pt x="28897" y="995"/>
                    <a:pt x="38388" y="-183"/>
                  </a:cubicBezTo>
                  <a:cubicBezTo>
                    <a:pt x="49875" y="-1623"/>
                    <a:pt x="60346" y="6493"/>
                    <a:pt x="61786" y="17979"/>
                  </a:cubicBezTo>
                  <a:cubicBezTo>
                    <a:pt x="63226" y="29466"/>
                    <a:pt x="55078" y="39937"/>
                    <a:pt x="43624" y="41378"/>
                  </a:cubicBezTo>
                  <a:cubicBezTo>
                    <a:pt x="41889" y="41607"/>
                    <a:pt x="40123" y="41607"/>
                    <a:pt x="38388" y="41378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4" name="Frihandsfigur: Form 93">
              <a:extLst>
                <a:ext uri="{FF2B5EF4-FFF2-40B4-BE49-F238E27FC236}">
                  <a16:creationId xmlns:a16="http://schemas.microsoft.com/office/drawing/2014/main" id="{CFC13BE4-E425-4E77-9611-96F09BE3ABC9}"/>
                </a:ext>
              </a:extLst>
            </p:cNvPr>
            <p:cNvSpPr/>
            <p:nvPr/>
          </p:nvSpPr>
          <p:spPr>
            <a:xfrm>
              <a:off x="4658799" y="2056242"/>
              <a:ext cx="141405" cy="250707"/>
            </a:xfrm>
            <a:custGeom>
              <a:avLst/>
              <a:gdLst>
                <a:gd name="connsiteX0" fmla="*/ 141145 w 141405"/>
                <a:gd name="connsiteY0" fmla="*/ 149222 h 250707"/>
                <a:gd name="connsiteX1" fmla="*/ 130673 w 141405"/>
                <a:gd name="connsiteY1" fmla="*/ 234308 h 250707"/>
                <a:gd name="connsiteX2" fmla="*/ 113001 w 141405"/>
                <a:gd name="connsiteY2" fmla="*/ 250343 h 250707"/>
                <a:gd name="connsiteX3" fmla="*/ 98275 w 141405"/>
                <a:gd name="connsiteY3" fmla="*/ 236926 h 250707"/>
                <a:gd name="connsiteX4" fmla="*/ 98275 w 141405"/>
                <a:gd name="connsiteY4" fmla="*/ 236271 h 250707"/>
                <a:gd name="connsiteX5" fmla="*/ 107765 w 141405"/>
                <a:gd name="connsiteY5" fmla="*/ 158713 h 250707"/>
                <a:gd name="connsiteX6" fmla="*/ 107765 w 141405"/>
                <a:gd name="connsiteY6" fmla="*/ 152495 h 250707"/>
                <a:gd name="connsiteX7" fmla="*/ 87737 w 141405"/>
                <a:gd name="connsiteY7" fmla="*/ 127623 h 250707"/>
                <a:gd name="connsiteX8" fmla="*/ 82894 w 141405"/>
                <a:gd name="connsiteY8" fmla="*/ 127623 h 250707"/>
                <a:gd name="connsiteX9" fmla="*/ 41005 w 141405"/>
                <a:gd name="connsiteY9" fmla="*/ 160348 h 250707"/>
                <a:gd name="connsiteX10" fmla="*/ 31842 w 141405"/>
                <a:gd name="connsiteY10" fmla="*/ 233326 h 250707"/>
                <a:gd name="connsiteX11" fmla="*/ 14171 w 141405"/>
                <a:gd name="connsiteY11" fmla="*/ 249361 h 250707"/>
                <a:gd name="connsiteX12" fmla="*/ -228 w 141405"/>
                <a:gd name="connsiteY12" fmla="*/ 236271 h 250707"/>
                <a:gd name="connsiteX13" fmla="*/ -228 w 141405"/>
                <a:gd name="connsiteY13" fmla="*/ 235616 h 250707"/>
                <a:gd name="connsiteX14" fmla="*/ 26934 w 141405"/>
                <a:gd name="connsiteY14" fmla="*/ 15702 h 250707"/>
                <a:gd name="connsiteX15" fmla="*/ 44606 w 141405"/>
                <a:gd name="connsiteY15" fmla="*/ -333 h 250707"/>
                <a:gd name="connsiteX16" fmla="*/ 59005 w 141405"/>
                <a:gd name="connsiteY16" fmla="*/ 12725 h 250707"/>
                <a:gd name="connsiteX17" fmla="*/ 59005 w 141405"/>
                <a:gd name="connsiteY17" fmla="*/ 13739 h 250707"/>
                <a:gd name="connsiteX18" fmla="*/ 46897 w 141405"/>
                <a:gd name="connsiteY18" fmla="*/ 114860 h 250707"/>
                <a:gd name="connsiteX19" fmla="*/ 96639 w 141405"/>
                <a:gd name="connsiteY19" fmla="*/ 97189 h 250707"/>
                <a:gd name="connsiteX20" fmla="*/ 140589 w 141405"/>
                <a:gd name="connsiteY20" fmla="*/ 131158 h 250707"/>
                <a:gd name="connsiteX21" fmla="*/ 140818 w 141405"/>
                <a:gd name="connsiteY21" fmla="*/ 138750 h 250707"/>
                <a:gd name="connsiteX22" fmla="*/ 141145 w 141405"/>
                <a:gd name="connsiteY22" fmla="*/ 149222 h 250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405" h="250707">
                  <a:moveTo>
                    <a:pt x="141145" y="149222"/>
                  </a:moveTo>
                  <a:lnTo>
                    <a:pt x="130673" y="234308"/>
                  </a:lnTo>
                  <a:cubicBezTo>
                    <a:pt x="129429" y="243209"/>
                    <a:pt x="122001" y="249951"/>
                    <a:pt x="113001" y="250343"/>
                  </a:cubicBezTo>
                  <a:cubicBezTo>
                    <a:pt x="105246" y="250703"/>
                    <a:pt x="98668" y="244714"/>
                    <a:pt x="98275" y="236926"/>
                  </a:cubicBezTo>
                  <a:cubicBezTo>
                    <a:pt x="98275" y="236729"/>
                    <a:pt x="98275" y="236500"/>
                    <a:pt x="98275" y="236271"/>
                  </a:cubicBezTo>
                  <a:cubicBezTo>
                    <a:pt x="98275" y="236271"/>
                    <a:pt x="98275" y="236271"/>
                    <a:pt x="107765" y="158713"/>
                  </a:cubicBezTo>
                  <a:cubicBezTo>
                    <a:pt x="107929" y="156650"/>
                    <a:pt x="107929" y="154556"/>
                    <a:pt x="107765" y="152495"/>
                  </a:cubicBezTo>
                  <a:cubicBezTo>
                    <a:pt x="109108" y="140092"/>
                    <a:pt x="100140" y="128964"/>
                    <a:pt x="87737" y="127623"/>
                  </a:cubicBezTo>
                  <a:cubicBezTo>
                    <a:pt x="86134" y="127459"/>
                    <a:pt x="84498" y="127459"/>
                    <a:pt x="82894" y="127623"/>
                  </a:cubicBezTo>
                  <a:cubicBezTo>
                    <a:pt x="62408" y="125496"/>
                    <a:pt x="43886" y="139960"/>
                    <a:pt x="41005" y="160348"/>
                  </a:cubicBezTo>
                  <a:lnTo>
                    <a:pt x="31842" y="233326"/>
                  </a:lnTo>
                  <a:cubicBezTo>
                    <a:pt x="30730" y="242293"/>
                    <a:pt x="23204" y="249100"/>
                    <a:pt x="14171" y="249361"/>
                  </a:cubicBezTo>
                  <a:cubicBezTo>
                    <a:pt x="6578" y="249721"/>
                    <a:pt x="165" y="243864"/>
                    <a:pt x="-228" y="236271"/>
                  </a:cubicBezTo>
                  <a:cubicBezTo>
                    <a:pt x="-228" y="236075"/>
                    <a:pt x="-228" y="235846"/>
                    <a:pt x="-228" y="235616"/>
                  </a:cubicBezTo>
                  <a:cubicBezTo>
                    <a:pt x="-228" y="235616"/>
                    <a:pt x="-228" y="235616"/>
                    <a:pt x="26934" y="15702"/>
                  </a:cubicBezTo>
                  <a:cubicBezTo>
                    <a:pt x="28177" y="6802"/>
                    <a:pt x="35606" y="59"/>
                    <a:pt x="44606" y="-333"/>
                  </a:cubicBezTo>
                  <a:cubicBezTo>
                    <a:pt x="52198" y="-693"/>
                    <a:pt x="58644" y="5165"/>
                    <a:pt x="59005" y="12725"/>
                  </a:cubicBezTo>
                  <a:cubicBezTo>
                    <a:pt x="59005" y="13084"/>
                    <a:pt x="59005" y="13412"/>
                    <a:pt x="59005" y="13739"/>
                  </a:cubicBezTo>
                  <a:cubicBezTo>
                    <a:pt x="59005" y="13739"/>
                    <a:pt x="59005" y="13739"/>
                    <a:pt x="46897" y="114860"/>
                  </a:cubicBezTo>
                  <a:cubicBezTo>
                    <a:pt x="60935" y="103374"/>
                    <a:pt x="78508" y="97123"/>
                    <a:pt x="96639" y="97189"/>
                  </a:cubicBezTo>
                  <a:cubicBezTo>
                    <a:pt x="118139" y="94439"/>
                    <a:pt x="137840" y="109625"/>
                    <a:pt x="140589" y="131158"/>
                  </a:cubicBezTo>
                  <a:cubicBezTo>
                    <a:pt x="140916" y="133677"/>
                    <a:pt x="140982" y="136197"/>
                    <a:pt x="140818" y="138750"/>
                  </a:cubicBezTo>
                  <a:cubicBezTo>
                    <a:pt x="141113" y="142218"/>
                    <a:pt x="141244" y="145721"/>
                    <a:pt x="141145" y="149222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5" name="Frihandsfigur: Form 94">
              <a:extLst>
                <a:ext uri="{FF2B5EF4-FFF2-40B4-BE49-F238E27FC236}">
                  <a16:creationId xmlns:a16="http://schemas.microsoft.com/office/drawing/2014/main" id="{D9B353E1-CBCC-4A82-BAF8-64B0CE6E878B}"/>
                </a:ext>
              </a:extLst>
            </p:cNvPr>
            <p:cNvSpPr/>
            <p:nvPr/>
          </p:nvSpPr>
          <p:spPr>
            <a:xfrm>
              <a:off x="4819153" y="2085708"/>
              <a:ext cx="140718" cy="221524"/>
            </a:xfrm>
            <a:custGeom>
              <a:avLst/>
              <a:gdLst>
                <a:gd name="connsiteX0" fmla="*/ 139837 w 140718"/>
                <a:gd name="connsiteY0" fmla="*/ 115829 h 221524"/>
                <a:gd name="connsiteX1" fmla="*/ 129037 w 140718"/>
                <a:gd name="connsiteY1" fmla="*/ 204514 h 221524"/>
                <a:gd name="connsiteX2" fmla="*/ 111038 w 140718"/>
                <a:gd name="connsiteY2" fmla="*/ 220877 h 221524"/>
                <a:gd name="connsiteX3" fmla="*/ 96966 w 140718"/>
                <a:gd name="connsiteY3" fmla="*/ 207459 h 221524"/>
                <a:gd name="connsiteX4" fmla="*/ 96966 w 140718"/>
                <a:gd name="connsiteY4" fmla="*/ 206805 h 221524"/>
                <a:gd name="connsiteX5" fmla="*/ 96966 w 140718"/>
                <a:gd name="connsiteY5" fmla="*/ 204187 h 221524"/>
                <a:gd name="connsiteX6" fmla="*/ 45915 w 140718"/>
                <a:gd name="connsiteY6" fmla="*/ 220877 h 221524"/>
                <a:gd name="connsiteX7" fmla="*/ 67 w 140718"/>
                <a:gd name="connsiteY7" fmla="*/ 184846 h 221524"/>
                <a:gd name="connsiteX8" fmla="*/ -228 w 140718"/>
                <a:gd name="connsiteY8" fmla="*/ 180952 h 221524"/>
                <a:gd name="connsiteX9" fmla="*/ 78967 w 140718"/>
                <a:gd name="connsiteY9" fmla="*/ 122047 h 221524"/>
                <a:gd name="connsiteX10" fmla="*/ 106457 w 140718"/>
                <a:gd name="connsiteY10" fmla="*/ 124010 h 221524"/>
                <a:gd name="connsiteX11" fmla="*/ 106457 w 140718"/>
                <a:gd name="connsiteY11" fmla="*/ 116811 h 221524"/>
                <a:gd name="connsiteX12" fmla="*/ 73732 w 140718"/>
                <a:gd name="connsiteY12" fmla="*/ 95866 h 221524"/>
                <a:gd name="connsiteX13" fmla="*/ 39042 w 140718"/>
                <a:gd name="connsiteY13" fmla="*/ 104702 h 221524"/>
                <a:gd name="connsiteX14" fmla="*/ 32825 w 140718"/>
                <a:gd name="connsiteY14" fmla="*/ 106338 h 221524"/>
                <a:gd name="connsiteX15" fmla="*/ 20062 w 140718"/>
                <a:gd name="connsiteY15" fmla="*/ 94230 h 221524"/>
                <a:gd name="connsiteX16" fmla="*/ 20062 w 140718"/>
                <a:gd name="connsiteY16" fmla="*/ 93575 h 221524"/>
                <a:gd name="connsiteX17" fmla="*/ 30206 w 140718"/>
                <a:gd name="connsiteY17" fmla="*/ 78849 h 221524"/>
                <a:gd name="connsiteX18" fmla="*/ 84203 w 140718"/>
                <a:gd name="connsiteY18" fmla="*/ 69031 h 221524"/>
                <a:gd name="connsiteX19" fmla="*/ 138527 w 140718"/>
                <a:gd name="connsiteY19" fmla="*/ 108629 h 221524"/>
                <a:gd name="connsiteX20" fmla="*/ 139837 w 140718"/>
                <a:gd name="connsiteY20" fmla="*/ 115829 h 221524"/>
                <a:gd name="connsiteX21" fmla="*/ 81585 w 140718"/>
                <a:gd name="connsiteY21" fmla="*/ 144954 h 221524"/>
                <a:gd name="connsiteX22" fmla="*/ 33152 w 140718"/>
                <a:gd name="connsiteY22" fmla="*/ 173425 h 221524"/>
                <a:gd name="connsiteX23" fmla="*/ 57369 w 140718"/>
                <a:gd name="connsiteY23" fmla="*/ 192733 h 221524"/>
                <a:gd name="connsiteX24" fmla="*/ 99912 w 140718"/>
                <a:gd name="connsiteY24" fmla="*/ 180298 h 221524"/>
                <a:gd name="connsiteX25" fmla="*/ 103838 w 140718"/>
                <a:gd name="connsiteY25" fmla="*/ 147573 h 221524"/>
                <a:gd name="connsiteX26" fmla="*/ 81585 w 140718"/>
                <a:gd name="connsiteY26" fmla="*/ 144954 h 221524"/>
                <a:gd name="connsiteX27" fmla="*/ 57696 w 140718"/>
                <a:gd name="connsiteY27" fmla="*/ 41542 h 221524"/>
                <a:gd name="connsiteX28" fmla="*/ 37078 w 140718"/>
                <a:gd name="connsiteY28" fmla="*/ 20925 h 221524"/>
                <a:gd name="connsiteX29" fmla="*/ 57696 w 140718"/>
                <a:gd name="connsiteY29" fmla="*/ -347 h 221524"/>
                <a:gd name="connsiteX30" fmla="*/ 78967 w 140718"/>
                <a:gd name="connsiteY30" fmla="*/ 20271 h 221524"/>
                <a:gd name="connsiteX31" fmla="*/ 58351 w 140718"/>
                <a:gd name="connsiteY31" fmla="*/ 41542 h 221524"/>
                <a:gd name="connsiteX32" fmla="*/ 57696 w 140718"/>
                <a:gd name="connsiteY32" fmla="*/ 41542 h 221524"/>
                <a:gd name="connsiteX33" fmla="*/ 119547 w 140718"/>
                <a:gd name="connsiteY33" fmla="*/ 41542 h 221524"/>
                <a:gd name="connsiteX34" fmla="*/ 98930 w 140718"/>
                <a:gd name="connsiteY34" fmla="*/ 20925 h 221524"/>
                <a:gd name="connsiteX35" fmla="*/ 122328 w 140718"/>
                <a:gd name="connsiteY35" fmla="*/ 2762 h 221524"/>
                <a:gd name="connsiteX36" fmla="*/ 140491 w 140718"/>
                <a:gd name="connsiteY36" fmla="*/ 20925 h 221524"/>
                <a:gd name="connsiteX37" fmla="*/ 119939 w 140718"/>
                <a:gd name="connsiteY37" fmla="*/ 41608 h 221524"/>
                <a:gd name="connsiteX38" fmla="*/ 118238 w 140718"/>
                <a:gd name="connsiteY38" fmla="*/ 41542 h 22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0718" h="221524">
                  <a:moveTo>
                    <a:pt x="139837" y="115829"/>
                  </a:moveTo>
                  <a:lnTo>
                    <a:pt x="129037" y="204514"/>
                  </a:lnTo>
                  <a:cubicBezTo>
                    <a:pt x="127793" y="213611"/>
                    <a:pt x="120201" y="220484"/>
                    <a:pt x="111038" y="220877"/>
                  </a:cubicBezTo>
                  <a:cubicBezTo>
                    <a:pt x="103446" y="221074"/>
                    <a:pt x="97162" y="215052"/>
                    <a:pt x="96966" y="207459"/>
                  </a:cubicBezTo>
                  <a:cubicBezTo>
                    <a:pt x="96966" y="207231"/>
                    <a:pt x="96966" y="207034"/>
                    <a:pt x="96966" y="206805"/>
                  </a:cubicBezTo>
                  <a:lnTo>
                    <a:pt x="96966" y="204187"/>
                  </a:lnTo>
                  <a:cubicBezTo>
                    <a:pt x="81716" y="214169"/>
                    <a:pt x="64110" y="219928"/>
                    <a:pt x="45915" y="220877"/>
                  </a:cubicBezTo>
                  <a:cubicBezTo>
                    <a:pt x="23301" y="223593"/>
                    <a:pt x="2782" y="207459"/>
                    <a:pt x="67" y="184846"/>
                  </a:cubicBezTo>
                  <a:cubicBezTo>
                    <a:pt x="-97" y="183570"/>
                    <a:pt x="-195" y="182261"/>
                    <a:pt x="-228" y="180952"/>
                  </a:cubicBezTo>
                  <a:cubicBezTo>
                    <a:pt x="-228" y="140373"/>
                    <a:pt x="44606" y="122047"/>
                    <a:pt x="78967" y="122047"/>
                  </a:cubicBezTo>
                  <a:cubicBezTo>
                    <a:pt x="88163" y="122047"/>
                    <a:pt x="97359" y="122701"/>
                    <a:pt x="106457" y="124010"/>
                  </a:cubicBezTo>
                  <a:cubicBezTo>
                    <a:pt x="106620" y="121621"/>
                    <a:pt x="106620" y="119200"/>
                    <a:pt x="106457" y="116811"/>
                  </a:cubicBezTo>
                  <a:cubicBezTo>
                    <a:pt x="106457" y="98157"/>
                    <a:pt x="89767" y="95866"/>
                    <a:pt x="73732" y="95866"/>
                  </a:cubicBezTo>
                  <a:cubicBezTo>
                    <a:pt x="61622" y="95899"/>
                    <a:pt x="49711" y="98942"/>
                    <a:pt x="39042" y="104702"/>
                  </a:cubicBezTo>
                  <a:cubicBezTo>
                    <a:pt x="37144" y="105749"/>
                    <a:pt x="34984" y="106305"/>
                    <a:pt x="32825" y="106338"/>
                  </a:cubicBezTo>
                  <a:cubicBezTo>
                    <a:pt x="25952" y="106535"/>
                    <a:pt x="20258" y="101102"/>
                    <a:pt x="20062" y="94230"/>
                  </a:cubicBezTo>
                  <a:cubicBezTo>
                    <a:pt x="20062" y="94033"/>
                    <a:pt x="20062" y="93805"/>
                    <a:pt x="20062" y="93575"/>
                  </a:cubicBezTo>
                  <a:cubicBezTo>
                    <a:pt x="20225" y="87095"/>
                    <a:pt x="24218" y="81303"/>
                    <a:pt x="30206" y="78849"/>
                  </a:cubicBezTo>
                  <a:cubicBezTo>
                    <a:pt x="47355" y="71977"/>
                    <a:pt x="65713" y="68638"/>
                    <a:pt x="84203" y="69031"/>
                  </a:cubicBezTo>
                  <a:cubicBezTo>
                    <a:pt x="110710" y="69031"/>
                    <a:pt x="138527" y="76886"/>
                    <a:pt x="138527" y="108629"/>
                  </a:cubicBezTo>
                  <a:cubicBezTo>
                    <a:pt x="139116" y="110985"/>
                    <a:pt x="139542" y="113407"/>
                    <a:pt x="139837" y="115829"/>
                  </a:cubicBezTo>
                  <a:close/>
                  <a:moveTo>
                    <a:pt x="81585" y="144954"/>
                  </a:moveTo>
                  <a:cubicBezTo>
                    <a:pt x="64895" y="144954"/>
                    <a:pt x="33152" y="150844"/>
                    <a:pt x="33152" y="173425"/>
                  </a:cubicBezTo>
                  <a:cubicBezTo>
                    <a:pt x="33152" y="187170"/>
                    <a:pt x="45260" y="192733"/>
                    <a:pt x="57369" y="192733"/>
                  </a:cubicBezTo>
                  <a:cubicBezTo>
                    <a:pt x="72389" y="192439"/>
                    <a:pt x="87083" y="188152"/>
                    <a:pt x="99912" y="180298"/>
                  </a:cubicBezTo>
                  <a:lnTo>
                    <a:pt x="103838" y="147573"/>
                  </a:lnTo>
                  <a:cubicBezTo>
                    <a:pt x="96541" y="145838"/>
                    <a:pt x="89080" y="144987"/>
                    <a:pt x="81585" y="144954"/>
                  </a:cubicBezTo>
                  <a:close/>
                  <a:moveTo>
                    <a:pt x="57696" y="41542"/>
                  </a:moveTo>
                  <a:cubicBezTo>
                    <a:pt x="46307" y="41542"/>
                    <a:pt x="37078" y="32314"/>
                    <a:pt x="37078" y="20925"/>
                  </a:cubicBezTo>
                  <a:cubicBezTo>
                    <a:pt x="36883" y="9373"/>
                    <a:pt x="46144" y="-150"/>
                    <a:pt x="57696" y="-347"/>
                  </a:cubicBezTo>
                  <a:cubicBezTo>
                    <a:pt x="69248" y="-510"/>
                    <a:pt x="78771" y="8719"/>
                    <a:pt x="78967" y="20271"/>
                  </a:cubicBezTo>
                  <a:cubicBezTo>
                    <a:pt x="79131" y="31855"/>
                    <a:pt x="69903" y="41378"/>
                    <a:pt x="58351" y="41542"/>
                  </a:cubicBezTo>
                  <a:cubicBezTo>
                    <a:pt x="58121" y="41542"/>
                    <a:pt x="57925" y="41542"/>
                    <a:pt x="57696" y="41542"/>
                  </a:cubicBezTo>
                  <a:close/>
                  <a:moveTo>
                    <a:pt x="119547" y="41542"/>
                  </a:moveTo>
                  <a:cubicBezTo>
                    <a:pt x="108158" y="41542"/>
                    <a:pt x="98930" y="32314"/>
                    <a:pt x="98930" y="20925"/>
                  </a:cubicBezTo>
                  <a:cubicBezTo>
                    <a:pt x="100370" y="9439"/>
                    <a:pt x="110841" y="1322"/>
                    <a:pt x="122328" y="2762"/>
                  </a:cubicBezTo>
                  <a:cubicBezTo>
                    <a:pt x="131819" y="3941"/>
                    <a:pt x="139313" y="11435"/>
                    <a:pt x="140491" y="20925"/>
                  </a:cubicBezTo>
                  <a:cubicBezTo>
                    <a:pt x="140524" y="32314"/>
                    <a:pt x="131328" y="41575"/>
                    <a:pt x="119939" y="41608"/>
                  </a:cubicBezTo>
                  <a:cubicBezTo>
                    <a:pt x="119383" y="41608"/>
                    <a:pt x="118794" y="41575"/>
                    <a:pt x="118238" y="41542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6" name="Frihandsfigur: Form 95">
              <a:extLst>
                <a:ext uri="{FF2B5EF4-FFF2-40B4-BE49-F238E27FC236}">
                  <a16:creationId xmlns:a16="http://schemas.microsoft.com/office/drawing/2014/main" id="{FE592824-4C42-438F-BE0B-E1FAE4261F8E}"/>
                </a:ext>
              </a:extLst>
            </p:cNvPr>
            <p:cNvSpPr/>
            <p:nvPr/>
          </p:nvSpPr>
          <p:spPr>
            <a:xfrm>
              <a:off x="4984744" y="2057224"/>
              <a:ext cx="59232" cy="249714"/>
            </a:xfrm>
            <a:custGeom>
              <a:avLst/>
              <a:gdLst>
                <a:gd name="connsiteX0" fmla="*/ 32170 w 59232"/>
                <a:gd name="connsiteY0" fmla="*/ 232999 h 249714"/>
                <a:gd name="connsiteX1" fmla="*/ 14171 w 59232"/>
                <a:gd name="connsiteY1" fmla="*/ 249361 h 249714"/>
                <a:gd name="connsiteX2" fmla="*/ -228 w 59232"/>
                <a:gd name="connsiteY2" fmla="*/ 235616 h 249714"/>
                <a:gd name="connsiteX3" fmla="*/ -228 w 59232"/>
                <a:gd name="connsiteY3" fmla="*/ 235290 h 249714"/>
                <a:gd name="connsiteX4" fmla="*/ 26607 w 59232"/>
                <a:gd name="connsiteY4" fmla="*/ 15702 h 249714"/>
                <a:gd name="connsiteX5" fmla="*/ 44606 w 59232"/>
                <a:gd name="connsiteY5" fmla="*/ -333 h 249714"/>
                <a:gd name="connsiteX6" fmla="*/ 59005 w 59232"/>
                <a:gd name="connsiteY6" fmla="*/ 12725 h 249714"/>
                <a:gd name="connsiteX7" fmla="*/ 59005 w 59232"/>
                <a:gd name="connsiteY7" fmla="*/ 13739 h 249714"/>
                <a:gd name="connsiteX8" fmla="*/ 32170 w 59232"/>
                <a:gd name="connsiteY8" fmla="*/ 232999 h 24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32" h="249714">
                  <a:moveTo>
                    <a:pt x="32170" y="232999"/>
                  </a:moveTo>
                  <a:cubicBezTo>
                    <a:pt x="30926" y="242096"/>
                    <a:pt x="23334" y="248969"/>
                    <a:pt x="14171" y="249361"/>
                  </a:cubicBezTo>
                  <a:cubicBezTo>
                    <a:pt x="6415" y="249558"/>
                    <a:pt x="-31" y="243405"/>
                    <a:pt x="-228" y="235616"/>
                  </a:cubicBezTo>
                  <a:cubicBezTo>
                    <a:pt x="-228" y="235518"/>
                    <a:pt x="-228" y="235388"/>
                    <a:pt x="-228" y="235290"/>
                  </a:cubicBezTo>
                  <a:cubicBezTo>
                    <a:pt x="-228" y="235290"/>
                    <a:pt x="-228" y="235290"/>
                    <a:pt x="26607" y="15702"/>
                  </a:cubicBezTo>
                  <a:cubicBezTo>
                    <a:pt x="28014" y="6736"/>
                    <a:pt x="35540" y="28"/>
                    <a:pt x="44606" y="-333"/>
                  </a:cubicBezTo>
                  <a:cubicBezTo>
                    <a:pt x="52198" y="-693"/>
                    <a:pt x="58645" y="5165"/>
                    <a:pt x="59005" y="12725"/>
                  </a:cubicBezTo>
                  <a:cubicBezTo>
                    <a:pt x="59005" y="13084"/>
                    <a:pt x="59005" y="13412"/>
                    <a:pt x="59005" y="13739"/>
                  </a:cubicBezTo>
                  <a:cubicBezTo>
                    <a:pt x="59005" y="13739"/>
                    <a:pt x="58677" y="15048"/>
                    <a:pt x="32170" y="232999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7" name="Frihandsfigur: Form 96">
              <a:extLst>
                <a:ext uri="{FF2B5EF4-FFF2-40B4-BE49-F238E27FC236}">
                  <a16:creationId xmlns:a16="http://schemas.microsoft.com/office/drawing/2014/main" id="{66AFBCA4-325E-48CA-874B-A67BF506314B}"/>
                </a:ext>
              </a:extLst>
            </p:cNvPr>
            <p:cNvSpPr/>
            <p:nvPr/>
          </p:nvSpPr>
          <p:spPr>
            <a:xfrm>
              <a:off x="5043975" y="2151217"/>
              <a:ext cx="125042" cy="156044"/>
            </a:xfrm>
            <a:custGeom>
              <a:avLst/>
              <a:gdLst>
                <a:gd name="connsiteX0" fmla="*/ 108422 w 125042"/>
                <a:gd name="connsiteY0" fmla="*/ 37557 h 156044"/>
                <a:gd name="connsiteX1" fmla="*/ 101876 w 125042"/>
                <a:gd name="connsiteY1" fmla="*/ 35593 h 156044"/>
                <a:gd name="connsiteX2" fmla="*/ 71114 w 125042"/>
                <a:gd name="connsiteY2" fmla="*/ 28066 h 156044"/>
                <a:gd name="connsiteX3" fmla="*/ 48207 w 125042"/>
                <a:gd name="connsiteY3" fmla="*/ 44429 h 156044"/>
                <a:gd name="connsiteX4" fmla="*/ 66533 w 125042"/>
                <a:gd name="connsiteY4" fmla="*/ 60791 h 156044"/>
                <a:gd name="connsiteX5" fmla="*/ 114966 w 125042"/>
                <a:gd name="connsiteY5" fmla="*/ 105298 h 156044"/>
                <a:gd name="connsiteX6" fmla="*/ 53443 w 125042"/>
                <a:gd name="connsiteY6" fmla="*/ 155696 h 156044"/>
                <a:gd name="connsiteX7" fmla="*/ 6973 w 125042"/>
                <a:gd name="connsiteY7" fmla="*/ 143914 h 156044"/>
                <a:gd name="connsiteX8" fmla="*/ -227 w 125042"/>
                <a:gd name="connsiteY8" fmla="*/ 132460 h 156044"/>
                <a:gd name="connsiteX9" fmla="*/ 16790 w 125042"/>
                <a:gd name="connsiteY9" fmla="*/ 116752 h 156044"/>
                <a:gd name="connsiteX10" fmla="*/ 22026 w 125042"/>
                <a:gd name="connsiteY10" fmla="*/ 116752 h 156044"/>
                <a:gd name="connsiteX11" fmla="*/ 56388 w 125042"/>
                <a:gd name="connsiteY11" fmla="*/ 127551 h 156044"/>
                <a:gd name="connsiteX12" fmla="*/ 82896 w 125042"/>
                <a:gd name="connsiteY12" fmla="*/ 110207 h 156044"/>
                <a:gd name="connsiteX13" fmla="*/ 17445 w 125042"/>
                <a:gd name="connsiteY13" fmla="*/ 48357 h 156044"/>
                <a:gd name="connsiteX14" fmla="*/ 72685 w 125042"/>
                <a:gd name="connsiteY14" fmla="*/ -241 h 156044"/>
                <a:gd name="connsiteX15" fmla="*/ 74715 w 125042"/>
                <a:gd name="connsiteY15" fmla="*/ -77 h 156044"/>
                <a:gd name="connsiteX16" fmla="*/ 124784 w 125042"/>
                <a:gd name="connsiteY16" fmla="*/ 19885 h 156044"/>
                <a:gd name="connsiteX17" fmla="*/ 109109 w 125042"/>
                <a:gd name="connsiteY17" fmla="*/ 37524 h 156044"/>
                <a:gd name="connsiteX18" fmla="*/ 108422 w 125042"/>
                <a:gd name="connsiteY18" fmla="*/ 37557 h 156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5042" h="156044">
                  <a:moveTo>
                    <a:pt x="108422" y="37557"/>
                  </a:moveTo>
                  <a:cubicBezTo>
                    <a:pt x="106098" y="37557"/>
                    <a:pt x="103807" y="36870"/>
                    <a:pt x="101876" y="35593"/>
                  </a:cubicBezTo>
                  <a:cubicBezTo>
                    <a:pt x="92386" y="30619"/>
                    <a:pt x="81815" y="28034"/>
                    <a:pt x="71114" y="28066"/>
                  </a:cubicBezTo>
                  <a:cubicBezTo>
                    <a:pt x="60315" y="28066"/>
                    <a:pt x="48207" y="31666"/>
                    <a:pt x="48207" y="44429"/>
                  </a:cubicBezTo>
                  <a:cubicBezTo>
                    <a:pt x="48207" y="57192"/>
                    <a:pt x="58024" y="57846"/>
                    <a:pt x="66533" y="60791"/>
                  </a:cubicBezTo>
                  <a:cubicBezTo>
                    <a:pt x="87804" y="69300"/>
                    <a:pt x="114966" y="77482"/>
                    <a:pt x="114966" y="105298"/>
                  </a:cubicBezTo>
                  <a:cubicBezTo>
                    <a:pt x="114966" y="140969"/>
                    <a:pt x="85186" y="155696"/>
                    <a:pt x="53443" y="155696"/>
                  </a:cubicBezTo>
                  <a:cubicBezTo>
                    <a:pt x="37243" y="155466"/>
                    <a:pt x="21306" y="151441"/>
                    <a:pt x="6973" y="143914"/>
                  </a:cubicBezTo>
                  <a:cubicBezTo>
                    <a:pt x="2523" y="141853"/>
                    <a:pt x="-293" y="137370"/>
                    <a:pt x="-227" y="132460"/>
                  </a:cubicBezTo>
                  <a:cubicBezTo>
                    <a:pt x="755" y="123722"/>
                    <a:pt x="7988" y="117014"/>
                    <a:pt x="16790" y="116752"/>
                  </a:cubicBezTo>
                  <a:cubicBezTo>
                    <a:pt x="18525" y="116327"/>
                    <a:pt x="20292" y="116327"/>
                    <a:pt x="22026" y="116752"/>
                  </a:cubicBezTo>
                  <a:cubicBezTo>
                    <a:pt x="32499" y="122937"/>
                    <a:pt x="44247" y="126603"/>
                    <a:pt x="56388" y="127551"/>
                  </a:cubicBezTo>
                  <a:cubicBezTo>
                    <a:pt x="68169" y="127551"/>
                    <a:pt x="82896" y="125260"/>
                    <a:pt x="82896" y="110207"/>
                  </a:cubicBezTo>
                  <a:cubicBezTo>
                    <a:pt x="82896" y="81409"/>
                    <a:pt x="17445" y="93844"/>
                    <a:pt x="17445" y="48357"/>
                  </a:cubicBezTo>
                  <a:cubicBezTo>
                    <a:pt x="19278" y="19689"/>
                    <a:pt x="44018" y="-2074"/>
                    <a:pt x="72685" y="-241"/>
                  </a:cubicBezTo>
                  <a:cubicBezTo>
                    <a:pt x="73372" y="-208"/>
                    <a:pt x="74059" y="-143"/>
                    <a:pt x="74715" y="-77"/>
                  </a:cubicBezTo>
                  <a:cubicBezTo>
                    <a:pt x="86495" y="-77"/>
                    <a:pt x="124784" y="3522"/>
                    <a:pt x="124784" y="19885"/>
                  </a:cubicBezTo>
                  <a:cubicBezTo>
                    <a:pt x="125341" y="29081"/>
                    <a:pt x="118305" y="37000"/>
                    <a:pt x="109109" y="37524"/>
                  </a:cubicBezTo>
                  <a:cubicBezTo>
                    <a:pt x="108880" y="37557"/>
                    <a:pt x="108650" y="37557"/>
                    <a:pt x="108422" y="37557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98" name="Frihandsfigur: Form 97">
              <a:extLst>
                <a:ext uri="{FF2B5EF4-FFF2-40B4-BE49-F238E27FC236}">
                  <a16:creationId xmlns:a16="http://schemas.microsoft.com/office/drawing/2014/main" id="{F831F711-4FB0-495D-B258-9D6066BBEAD4}"/>
                </a:ext>
              </a:extLst>
            </p:cNvPr>
            <p:cNvSpPr/>
            <p:nvPr/>
          </p:nvSpPr>
          <p:spPr>
            <a:xfrm>
              <a:off x="5180114" y="2155062"/>
              <a:ext cx="140391" cy="152168"/>
            </a:xfrm>
            <a:custGeom>
              <a:avLst/>
              <a:gdLst>
                <a:gd name="connsiteX0" fmla="*/ 140164 w 140391"/>
                <a:gd name="connsiteY0" fmla="*/ 46475 h 152168"/>
                <a:gd name="connsiteX1" fmla="*/ 129037 w 140391"/>
                <a:gd name="connsiteY1" fmla="*/ 135161 h 152168"/>
                <a:gd name="connsiteX2" fmla="*/ 111366 w 140391"/>
                <a:gd name="connsiteY2" fmla="*/ 151524 h 152168"/>
                <a:gd name="connsiteX3" fmla="*/ 96966 w 140391"/>
                <a:gd name="connsiteY3" fmla="*/ 138467 h 152168"/>
                <a:gd name="connsiteX4" fmla="*/ 96966 w 140391"/>
                <a:gd name="connsiteY4" fmla="*/ 137452 h 152168"/>
                <a:gd name="connsiteX5" fmla="*/ 96966 w 140391"/>
                <a:gd name="connsiteY5" fmla="*/ 134833 h 152168"/>
                <a:gd name="connsiteX6" fmla="*/ 46242 w 140391"/>
                <a:gd name="connsiteY6" fmla="*/ 151524 h 152168"/>
                <a:gd name="connsiteX7" fmla="*/ 34 w 140391"/>
                <a:gd name="connsiteY7" fmla="*/ 115198 h 152168"/>
                <a:gd name="connsiteX8" fmla="*/ -228 w 140391"/>
                <a:gd name="connsiteY8" fmla="*/ 111599 h 152168"/>
                <a:gd name="connsiteX9" fmla="*/ 79294 w 140391"/>
                <a:gd name="connsiteY9" fmla="*/ 52693 h 152168"/>
                <a:gd name="connsiteX10" fmla="*/ 106784 w 140391"/>
                <a:gd name="connsiteY10" fmla="*/ 54657 h 152168"/>
                <a:gd name="connsiteX11" fmla="*/ 106784 w 140391"/>
                <a:gd name="connsiteY11" fmla="*/ 47457 h 152168"/>
                <a:gd name="connsiteX12" fmla="*/ 74058 w 140391"/>
                <a:gd name="connsiteY12" fmla="*/ 26513 h 152168"/>
                <a:gd name="connsiteX13" fmla="*/ 39697 w 140391"/>
                <a:gd name="connsiteY13" fmla="*/ 35349 h 152168"/>
                <a:gd name="connsiteX14" fmla="*/ 33479 w 140391"/>
                <a:gd name="connsiteY14" fmla="*/ 36985 h 152168"/>
                <a:gd name="connsiteX15" fmla="*/ 20716 w 140391"/>
                <a:gd name="connsiteY15" fmla="*/ 24877 h 152168"/>
                <a:gd name="connsiteX16" fmla="*/ 20716 w 140391"/>
                <a:gd name="connsiteY16" fmla="*/ 24222 h 152168"/>
                <a:gd name="connsiteX17" fmla="*/ 30534 w 140391"/>
                <a:gd name="connsiteY17" fmla="*/ 9496 h 152168"/>
                <a:gd name="connsiteX18" fmla="*/ 84858 w 140391"/>
                <a:gd name="connsiteY18" fmla="*/ -322 h 152168"/>
                <a:gd name="connsiteX19" fmla="*/ 139182 w 140391"/>
                <a:gd name="connsiteY19" fmla="*/ 39276 h 152168"/>
                <a:gd name="connsiteX20" fmla="*/ 140164 w 140391"/>
                <a:gd name="connsiteY20" fmla="*/ 46475 h 152168"/>
                <a:gd name="connsiteX21" fmla="*/ 81913 w 140391"/>
                <a:gd name="connsiteY21" fmla="*/ 75601 h 152168"/>
                <a:gd name="connsiteX22" fmla="*/ 33479 w 140391"/>
                <a:gd name="connsiteY22" fmla="*/ 104071 h 152168"/>
                <a:gd name="connsiteX23" fmla="*/ 57369 w 140391"/>
                <a:gd name="connsiteY23" fmla="*/ 123379 h 152168"/>
                <a:gd name="connsiteX24" fmla="*/ 100239 w 140391"/>
                <a:gd name="connsiteY24" fmla="*/ 110944 h 152168"/>
                <a:gd name="connsiteX25" fmla="*/ 103838 w 140391"/>
                <a:gd name="connsiteY25" fmla="*/ 78219 h 152168"/>
                <a:gd name="connsiteX26" fmla="*/ 81913 w 140391"/>
                <a:gd name="connsiteY26" fmla="*/ 75601 h 15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0391" h="152168">
                  <a:moveTo>
                    <a:pt x="140164" y="46475"/>
                  </a:moveTo>
                  <a:lnTo>
                    <a:pt x="129037" y="135161"/>
                  </a:lnTo>
                  <a:cubicBezTo>
                    <a:pt x="128055" y="144258"/>
                    <a:pt x="120529" y="151262"/>
                    <a:pt x="111366" y="151524"/>
                  </a:cubicBezTo>
                  <a:cubicBezTo>
                    <a:pt x="103774" y="151883"/>
                    <a:pt x="97326" y="146026"/>
                    <a:pt x="96966" y="138467"/>
                  </a:cubicBezTo>
                  <a:cubicBezTo>
                    <a:pt x="96966" y="138106"/>
                    <a:pt x="96966" y="137778"/>
                    <a:pt x="96966" y="137452"/>
                  </a:cubicBezTo>
                  <a:lnTo>
                    <a:pt x="96966" y="134833"/>
                  </a:lnTo>
                  <a:cubicBezTo>
                    <a:pt x="81847" y="144815"/>
                    <a:pt x="64339" y="150575"/>
                    <a:pt x="46242" y="151524"/>
                  </a:cubicBezTo>
                  <a:cubicBezTo>
                    <a:pt x="23465" y="154240"/>
                    <a:pt x="2783" y="137975"/>
                    <a:pt x="34" y="115198"/>
                  </a:cubicBezTo>
                  <a:cubicBezTo>
                    <a:pt x="-97" y="113987"/>
                    <a:pt x="-195" y="112809"/>
                    <a:pt x="-228" y="111599"/>
                  </a:cubicBezTo>
                  <a:cubicBezTo>
                    <a:pt x="-228" y="71019"/>
                    <a:pt x="44606" y="52693"/>
                    <a:pt x="79294" y="52693"/>
                  </a:cubicBezTo>
                  <a:cubicBezTo>
                    <a:pt x="88490" y="52693"/>
                    <a:pt x="97686" y="53348"/>
                    <a:pt x="106784" y="54657"/>
                  </a:cubicBezTo>
                  <a:cubicBezTo>
                    <a:pt x="106947" y="52268"/>
                    <a:pt x="106947" y="49846"/>
                    <a:pt x="106784" y="47457"/>
                  </a:cubicBezTo>
                  <a:cubicBezTo>
                    <a:pt x="106784" y="28804"/>
                    <a:pt x="89767" y="26513"/>
                    <a:pt x="74058" y="26513"/>
                  </a:cubicBezTo>
                  <a:cubicBezTo>
                    <a:pt x="62048" y="26611"/>
                    <a:pt x="50267" y="29654"/>
                    <a:pt x="39697" y="35349"/>
                  </a:cubicBezTo>
                  <a:cubicBezTo>
                    <a:pt x="37767" y="36298"/>
                    <a:pt x="35639" y="36854"/>
                    <a:pt x="33479" y="36985"/>
                  </a:cubicBezTo>
                  <a:cubicBezTo>
                    <a:pt x="26607" y="37182"/>
                    <a:pt x="20913" y="31749"/>
                    <a:pt x="20716" y="24877"/>
                  </a:cubicBezTo>
                  <a:cubicBezTo>
                    <a:pt x="20716" y="24680"/>
                    <a:pt x="20716" y="24451"/>
                    <a:pt x="20716" y="24222"/>
                  </a:cubicBezTo>
                  <a:cubicBezTo>
                    <a:pt x="20913" y="17841"/>
                    <a:pt x="24709" y="12113"/>
                    <a:pt x="30534" y="9496"/>
                  </a:cubicBezTo>
                  <a:cubicBezTo>
                    <a:pt x="47812" y="2656"/>
                    <a:pt x="66269" y="-682"/>
                    <a:pt x="84858" y="-322"/>
                  </a:cubicBezTo>
                  <a:cubicBezTo>
                    <a:pt x="111366" y="-322"/>
                    <a:pt x="139182" y="7532"/>
                    <a:pt x="139182" y="39276"/>
                  </a:cubicBezTo>
                  <a:cubicBezTo>
                    <a:pt x="139673" y="41665"/>
                    <a:pt x="140000" y="44054"/>
                    <a:pt x="140164" y="46475"/>
                  </a:cubicBezTo>
                  <a:close/>
                  <a:moveTo>
                    <a:pt x="81913" y="75601"/>
                  </a:moveTo>
                  <a:cubicBezTo>
                    <a:pt x="64895" y="75601"/>
                    <a:pt x="33479" y="81491"/>
                    <a:pt x="33479" y="104071"/>
                  </a:cubicBezTo>
                  <a:cubicBezTo>
                    <a:pt x="33479" y="117816"/>
                    <a:pt x="45260" y="123379"/>
                    <a:pt x="57369" y="123379"/>
                  </a:cubicBezTo>
                  <a:cubicBezTo>
                    <a:pt x="72520" y="123118"/>
                    <a:pt x="87312" y="118831"/>
                    <a:pt x="100239" y="110944"/>
                  </a:cubicBezTo>
                  <a:lnTo>
                    <a:pt x="103838" y="78219"/>
                  </a:lnTo>
                  <a:cubicBezTo>
                    <a:pt x="96639" y="76517"/>
                    <a:pt x="89308" y="75633"/>
                    <a:pt x="81913" y="75601"/>
                  </a:cubicBezTo>
                  <a:close/>
                </a:path>
              </a:pathLst>
            </a:custGeom>
            <a:solidFill>
              <a:srgbClr val="FFFFFF"/>
            </a:solidFill>
            <a:ln w="327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grpSp>
        <p:nvGrpSpPr>
          <p:cNvPr id="18" name="Grupp 17">
            <a:extLst>
              <a:ext uri="{FF2B5EF4-FFF2-40B4-BE49-F238E27FC236}">
                <a16:creationId xmlns:a16="http://schemas.microsoft.com/office/drawing/2014/main" id="{EF3DF2F8-4C49-4A3E-A793-C8D4C2CE639B}"/>
              </a:ext>
            </a:extLst>
          </p:cNvPr>
          <p:cNvGrpSpPr/>
          <p:nvPr userDrawn="1"/>
        </p:nvGrpSpPr>
        <p:grpSpPr>
          <a:xfrm>
            <a:off x="8142013" y="5806629"/>
            <a:ext cx="1735478" cy="326438"/>
            <a:chOff x="9835686" y="6074987"/>
            <a:chExt cx="1735478" cy="326438"/>
          </a:xfrm>
        </p:grpSpPr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ECF77505-3FB8-458A-8CE8-50657D8836B3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0" name="Frihandsfigur: Form 19">
              <a:extLst>
                <a:ext uri="{FF2B5EF4-FFF2-40B4-BE49-F238E27FC236}">
                  <a16:creationId xmlns:a16="http://schemas.microsoft.com/office/drawing/2014/main" id="{12F1F9D7-6E6B-4051-8411-ECF0066E93B2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1" name="Frihandsfigur: Form 20">
              <a:extLst>
                <a:ext uri="{FF2B5EF4-FFF2-40B4-BE49-F238E27FC236}">
                  <a16:creationId xmlns:a16="http://schemas.microsoft.com/office/drawing/2014/main" id="{25524A4E-847B-43AA-AF28-E519F23B20FA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2" name="Frihandsfigur: Form 21">
              <a:extLst>
                <a:ext uri="{FF2B5EF4-FFF2-40B4-BE49-F238E27FC236}">
                  <a16:creationId xmlns:a16="http://schemas.microsoft.com/office/drawing/2014/main" id="{0CAB9203-B58C-4274-9F95-FB9EE62BBBB0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3" name="Frihandsfigur: Form 22">
              <a:extLst>
                <a:ext uri="{FF2B5EF4-FFF2-40B4-BE49-F238E27FC236}">
                  <a16:creationId xmlns:a16="http://schemas.microsoft.com/office/drawing/2014/main" id="{4F32A260-AAD7-4609-8921-85487B6272DF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24" name="Frihandsfigur: Form 23">
              <a:extLst>
                <a:ext uri="{FF2B5EF4-FFF2-40B4-BE49-F238E27FC236}">
                  <a16:creationId xmlns:a16="http://schemas.microsoft.com/office/drawing/2014/main" id="{9BCE81A2-0BA0-40C9-9406-74EB54371EDB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5" name="Frihandsfigur: Form 24">
              <a:extLst>
                <a:ext uri="{FF2B5EF4-FFF2-40B4-BE49-F238E27FC236}">
                  <a16:creationId xmlns:a16="http://schemas.microsoft.com/office/drawing/2014/main" id="{BDA61D44-A961-4B77-9093-3F2CBF785BD6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7" name="Frihandsfigur: Form 26">
              <a:extLst>
                <a:ext uri="{FF2B5EF4-FFF2-40B4-BE49-F238E27FC236}">
                  <a16:creationId xmlns:a16="http://schemas.microsoft.com/office/drawing/2014/main" id="{181DE42F-F83B-48D1-A87C-169819960D7B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8" name="Frihandsfigur: Form 27">
              <a:extLst>
                <a:ext uri="{FF2B5EF4-FFF2-40B4-BE49-F238E27FC236}">
                  <a16:creationId xmlns:a16="http://schemas.microsoft.com/office/drawing/2014/main" id="{711455A0-C8B4-45A9-B429-7C58D7E9E620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9" name="Frihandsfigur: Form 28">
              <a:extLst>
                <a:ext uri="{FF2B5EF4-FFF2-40B4-BE49-F238E27FC236}">
                  <a16:creationId xmlns:a16="http://schemas.microsoft.com/office/drawing/2014/main" id="{8C65D001-FED1-48ED-A405-3F4E318532EF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sp>
        <p:nvSpPr>
          <p:cNvPr id="31" name="Rubrik 33">
            <a:extLst>
              <a:ext uri="{FF2B5EF4-FFF2-40B4-BE49-F238E27FC236}">
                <a16:creationId xmlns:a16="http://schemas.microsoft.com/office/drawing/2014/main" id="{41F79878-98FE-4670-9056-E527B6232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1390" y="2291453"/>
            <a:ext cx="5116722" cy="1387915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2" name="Platshållare för text 11">
            <a:extLst>
              <a:ext uri="{FF2B5EF4-FFF2-40B4-BE49-F238E27FC236}">
                <a16:creationId xmlns:a16="http://schemas.microsoft.com/office/drawing/2014/main" id="{673D7749-A314-47A6-870C-78136113D1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51391" y="3899972"/>
            <a:ext cx="5116721" cy="1014412"/>
          </a:xfrm>
        </p:spPr>
        <p:txBody>
          <a:bodyPr>
            <a:normAutofit/>
          </a:bodyPr>
          <a:lstStyle>
            <a:lvl1pPr marL="0" indent="0" algn="ctr">
              <a:buNone/>
              <a:defRPr sz="18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7221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67">
          <p15:clr>
            <a:srgbClr val="FBAE40"/>
          </p15:clr>
        </p15:guide>
        <p15:guide id="5" orient="horz" pos="414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mslag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p 48">
            <a:extLst>
              <a:ext uri="{FF2B5EF4-FFF2-40B4-BE49-F238E27FC236}">
                <a16:creationId xmlns:a16="http://schemas.microsoft.com/office/drawing/2014/main" id="{A17B1FFD-4C47-445D-89EB-81878920FF40}"/>
              </a:ext>
            </a:extLst>
          </p:cNvPr>
          <p:cNvGrpSpPr/>
          <p:nvPr userDrawn="1"/>
        </p:nvGrpSpPr>
        <p:grpSpPr>
          <a:xfrm>
            <a:off x="5228261" y="5806629"/>
            <a:ext cx="1735478" cy="326438"/>
            <a:chOff x="9835686" y="6074987"/>
            <a:chExt cx="1735478" cy="326438"/>
          </a:xfrm>
        </p:grpSpPr>
        <p:sp>
          <p:nvSpPr>
            <p:cNvPr id="50" name="Frihandsfigur: Form 49">
              <a:extLst>
                <a:ext uri="{FF2B5EF4-FFF2-40B4-BE49-F238E27FC236}">
                  <a16:creationId xmlns:a16="http://schemas.microsoft.com/office/drawing/2014/main" id="{8ABD41B9-904B-4168-9DDC-82CE9BA64151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51" name="Frihandsfigur: Form 50">
              <a:extLst>
                <a:ext uri="{FF2B5EF4-FFF2-40B4-BE49-F238E27FC236}">
                  <a16:creationId xmlns:a16="http://schemas.microsoft.com/office/drawing/2014/main" id="{DC5F6E23-680D-4CDB-82C7-1FE475843758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2" name="Frihandsfigur: Form 51">
              <a:extLst>
                <a:ext uri="{FF2B5EF4-FFF2-40B4-BE49-F238E27FC236}">
                  <a16:creationId xmlns:a16="http://schemas.microsoft.com/office/drawing/2014/main" id="{3CA1DB4F-E26E-4CE1-991C-1912D405C9E8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3" name="Frihandsfigur: Form 52">
              <a:extLst>
                <a:ext uri="{FF2B5EF4-FFF2-40B4-BE49-F238E27FC236}">
                  <a16:creationId xmlns:a16="http://schemas.microsoft.com/office/drawing/2014/main" id="{F5DBD882-CB4B-42EF-8D95-A8A532964B91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4" name="Frihandsfigur: Form 53">
              <a:extLst>
                <a:ext uri="{FF2B5EF4-FFF2-40B4-BE49-F238E27FC236}">
                  <a16:creationId xmlns:a16="http://schemas.microsoft.com/office/drawing/2014/main" id="{23DF994B-D705-4B9D-A06E-F0F281BA7CC3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55" name="Frihandsfigur: Form 54">
              <a:extLst>
                <a:ext uri="{FF2B5EF4-FFF2-40B4-BE49-F238E27FC236}">
                  <a16:creationId xmlns:a16="http://schemas.microsoft.com/office/drawing/2014/main" id="{67B451CC-70FD-4F86-9F1D-2328ADECE8B6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6" name="Frihandsfigur: Form 55">
              <a:extLst>
                <a:ext uri="{FF2B5EF4-FFF2-40B4-BE49-F238E27FC236}">
                  <a16:creationId xmlns:a16="http://schemas.microsoft.com/office/drawing/2014/main" id="{B9E1D679-9156-4C54-AB7B-3E98D3B0871B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7" name="Frihandsfigur: Form 56">
              <a:extLst>
                <a:ext uri="{FF2B5EF4-FFF2-40B4-BE49-F238E27FC236}">
                  <a16:creationId xmlns:a16="http://schemas.microsoft.com/office/drawing/2014/main" id="{0DF0B4B9-54B9-40C8-A3A4-DB17BC0E1CB4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8" name="Frihandsfigur: Form 57">
              <a:extLst>
                <a:ext uri="{FF2B5EF4-FFF2-40B4-BE49-F238E27FC236}">
                  <a16:creationId xmlns:a16="http://schemas.microsoft.com/office/drawing/2014/main" id="{59A0B482-9D05-4042-A6BA-D2F57C29E3C6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59" name="Frihandsfigur: Form 58">
              <a:extLst>
                <a:ext uri="{FF2B5EF4-FFF2-40B4-BE49-F238E27FC236}">
                  <a16:creationId xmlns:a16="http://schemas.microsoft.com/office/drawing/2014/main" id="{CF2BF6E7-7585-41A9-B9A2-24EC83C0A937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pic>
        <p:nvPicPr>
          <p:cNvPr id="26" name="Bildobjekt 25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28490181-B66A-4CF8-9AEE-D31781DF1F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40356">
            <a:off x="-200967" y="-1344068"/>
            <a:ext cx="3930594" cy="5818494"/>
          </a:xfrm>
          <a:custGeom>
            <a:avLst/>
            <a:gdLst>
              <a:gd name="connsiteX0" fmla="*/ 0 w 3930594"/>
              <a:gd name="connsiteY0" fmla="*/ 3131036 h 5818494"/>
              <a:gd name="connsiteX1" fmla="*/ 2885267 w 3930594"/>
              <a:gd name="connsiteY1" fmla="*/ 0 h 5818494"/>
              <a:gd name="connsiteX2" fmla="*/ 3930594 w 3930594"/>
              <a:gd name="connsiteY2" fmla="*/ 0 h 5818494"/>
              <a:gd name="connsiteX3" fmla="*/ 3930594 w 3930594"/>
              <a:gd name="connsiteY3" fmla="*/ 4717888 h 5818494"/>
              <a:gd name="connsiteX4" fmla="*/ 2916379 w 3930594"/>
              <a:gd name="connsiteY4" fmla="*/ 5818494 h 5818494"/>
              <a:gd name="connsiteX5" fmla="*/ 2850268 w 3930594"/>
              <a:gd name="connsiteY5" fmla="*/ 5757573 h 5818494"/>
              <a:gd name="connsiteX6" fmla="*/ 3756985 w 3930594"/>
              <a:gd name="connsiteY6" fmla="*/ 4773621 h 5818494"/>
              <a:gd name="connsiteX7" fmla="*/ 2901386 w 3930594"/>
              <a:gd name="connsiteY7" fmla="*/ 3985182 h 5818494"/>
              <a:gd name="connsiteX8" fmla="*/ 1994669 w 3930594"/>
              <a:gd name="connsiteY8" fmla="*/ 4969134 h 581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0594" h="5818494">
                <a:moveTo>
                  <a:pt x="0" y="3131036"/>
                </a:moveTo>
                <a:lnTo>
                  <a:pt x="2885267" y="0"/>
                </a:lnTo>
                <a:lnTo>
                  <a:pt x="3930594" y="0"/>
                </a:lnTo>
                <a:lnTo>
                  <a:pt x="3930594" y="4717888"/>
                </a:lnTo>
                <a:lnTo>
                  <a:pt x="2916379" y="5818494"/>
                </a:lnTo>
                <a:lnTo>
                  <a:pt x="2850268" y="5757573"/>
                </a:lnTo>
                <a:lnTo>
                  <a:pt x="3756985" y="4773621"/>
                </a:lnTo>
                <a:lnTo>
                  <a:pt x="2901386" y="3985182"/>
                </a:lnTo>
                <a:lnTo>
                  <a:pt x="1994669" y="4969134"/>
                </a:lnTo>
                <a:close/>
              </a:path>
            </a:pathLst>
          </a:custGeom>
        </p:spPr>
      </p:pic>
      <p:pic>
        <p:nvPicPr>
          <p:cNvPr id="30" name="Bildobjekt 29" descr="En bild som visar växt, blomma, löv, yta&#10;&#10;Automatiskt genererad beskrivning">
            <a:extLst>
              <a:ext uri="{FF2B5EF4-FFF2-40B4-BE49-F238E27FC236}">
                <a16:creationId xmlns:a16="http://schemas.microsoft.com/office/drawing/2014/main" id="{66D4B74D-4C69-49E3-8ED4-7643DEA0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364484">
            <a:off x="8405243" y="2112531"/>
            <a:ext cx="4012084" cy="6296330"/>
          </a:xfrm>
          <a:custGeom>
            <a:avLst/>
            <a:gdLst>
              <a:gd name="connsiteX0" fmla="*/ 0 w 4266892"/>
              <a:gd name="connsiteY0" fmla="*/ 201691 h 6696211"/>
              <a:gd name="connsiteX1" fmla="*/ 245472 w 4266892"/>
              <a:gd name="connsiteY1" fmla="*/ 0 h 6696211"/>
              <a:gd name="connsiteX2" fmla="*/ 1456806 w 4266892"/>
              <a:gd name="connsiteY2" fmla="*/ 0 h 6696211"/>
              <a:gd name="connsiteX3" fmla="*/ 4266892 w 4266892"/>
              <a:gd name="connsiteY3" fmla="*/ 3420074 h 6696211"/>
              <a:gd name="connsiteX4" fmla="*/ 279602 w 4266892"/>
              <a:gd name="connsiteY4" fmla="*/ 6696211 h 6696211"/>
              <a:gd name="connsiteX5" fmla="*/ 0 w 4266892"/>
              <a:gd name="connsiteY5" fmla="*/ 6355916 h 669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66892" h="6696211">
                <a:moveTo>
                  <a:pt x="0" y="201691"/>
                </a:moveTo>
                <a:lnTo>
                  <a:pt x="245472" y="0"/>
                </a:lnTo>
                <a:lnTo>
                  <a:pt x="1456806" y="0"/>
                </a:lnTo>
                <a:lnTo>
                  <a:pt x="4266892" y="3420074"/>
                </a:lnTo>
                <a:lnTo>
                  <a:pt x="279602" y="6696211"/>
                </a:lnTo>
                <a:lnTo>
                  <a:pt x="0" y="6355916"/>
                </a:lnTo>
                <a:close/>
              </a:path>
            </a:pathLst>
          </a:custGeom>
        </p:spPr>
      </p:pic>
      <p:sp>
        <p:nvSpPr>
          <p:cNvPr id="34" name="Rubrik 33">
            <a:extLst>
              <a:ext uri="{FF2B5EF4-FFF2-40B4-BE49-F238E27FC236}">
                <a16:creationId xmlns:a16="http://schemas.microsoft.com/office/drawing/2014/main" id="{428452C1-5ECD-4011-BAC1-E4F6C0A9B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0" y="1944694"/>
            <a:ext cx="6705602" cy="138791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5" name="Platshållare för text 11">
            <a:extLst>
              <a:ext uri="{FF2B5EF4-FFF2-40B4-BE49-F238E27FC236}">
                <a16:creationId xmlns:a16="http://schemas.microsoft.com/office/drawing/2014/main" id="{8214634E-D352-4BFE-A1EF-28A325A532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1" y="3553213"/>
            <a:ext cx="6705602" cy="1014412"/>
          </a:xfrm>
        </p:spPr>
        <p:txBody>
          <a:bodyPr>
            <a:normAutofit/>
          </a:bodyPr>
          <a:lstStyle>
            <a:lvl1pPr marL="0" indent="0" algn="ctr">
              <a:buNone/>
              <a:defRPr sz="2000" b="0"/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251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9">
          <p15:clr>
            <a:srgbClr val="FBAE40"/>
          </p15:clr>
        </p15:guide>
        <p15:guide id="2" pos="7509">
          <p15:clr>
            <a:srgbClr val="FBAE40"/>
          </p15:clr>
        </p15:guide>
        <p15:guide id="3" orient="horz" pos="167">
          <p15:clr>
            <a:srgbClr val="FBAE40"/>
          </p15:clr>
        </p15:guide>
        <p15:guide id="5" orient="horz" pos="414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/Avsnit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33">
            <a:extLst>
              <a:ext uri="{FF2B5EF4-FFF2-40B4-BE49-F238E27FC236}">
                <a16:creationId xmlns:a16="http://schemas.microsoft.com/office/drawing/2014/main" id="{0586E45B-C946-40EB-BCF3-52B22A6A4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0" y="1944694"/>
            <a:ext cx="6705602" cy="138791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7" name="Platshållare för text 11">
            <a:extLst>
              <a:ext uri="{FF2B5EF4-FFF2-40B4-BE49-F238E27FC236}">
                <a16:creationId xmlns:a16="http://schemas.microsoft.com/office/drawing/2014/main" id="{6B1B7308-15CE-4CC0-B48F-31AE93943F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1" y="3553213"/>
            <a:ext cx="6705602" cy="1014412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  <a:lvl2pPr marL="24606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877AC21F-2F39-4EF6-A8C9-C56625D3740F}"/>
              </a:ext>
            </a:extLst>
          </p:cNvPr>
          <p:cNvGrpSpPr/>
          <p:nvPr userDrawn="1"/>
        </p:nvGrpSpPr>
        <p:grpSpPr>
          <a:xfrm>
            <a:off x="5228261" y="5806629"/>
            <a:ext cx="1735478" cy="326438"/>
            <a:chOff x="9835686" y="6074987"/>
            <a:chExt cx="1735478" cy="326438"/>
          </a:xfrm>
        </p:grpSpPr>
        <p:sp>
          <p:nvSpPr>
            <p:cNvPr id="12" name="Frihandsfigur: Form 11">
              <a:extLst>
                <a:ext uri="{FF2B5EF4-FFF2-40B4-BE49-F238E27FC236}">
                  <a16:creationId xmlns:a16="http://schemas.microsoft.com/office/drawing/2014/main" id="{BE14921D-E172-41AE-BD94-1DC8A45CEF51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494C50ED-ADD2-4CD8-8CCB-65C257B3645B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47614A15-91E7-406A-8BD9-3D2F675D16E2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9DC837DE-9E9A-414A-AD02-B2849A652CFD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26767D1A-17AF-4EB9-8552-ED540E5C9B74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E469D9F4-09CC-47EF-82C4-BA0677FE23C0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9EA6835E-264A-4E32-BC85-02677AAB8DBE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CC5624C7-9FB2-4CAC-A5DD-F7D7F902BFDD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0" name="Frihandsfigur: Form 19">
              <a:extLst>
                <a:ext uri="{FF2B5EF4-FFF2-40B4-BE49-F238E27FC236}">
                  <a16:creationId xmlns:a16="http://schemas.microsoft.com/office/drawing/2014/main" id="{03D4840A-A615-4FF7-9581-27EC743CBA32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1" name="Frihandsfigur: Form 20">
              <a:extLst>
                <a:ext uri="{FF2B5EF4-FFF2-40B4-BE49-F238E27FC236}">
                  <a16:creationId xmlns:a16="http://schemas.microsoft.com/office/drawing/2014/main" id="{0D89E812-8625-421C-A3B9-22450B67F568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942227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41EAFA1-E418-4DDF-9B58-6183C5FC1B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8121" y="7645918"/>
            <a:ext cx="2743200" cy="18747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sv-S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2671DEC-79D5-414A-AF37-598600934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36521" y="7166416"/>
            <a:ext cx="4114800" cy="18747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02E2EE9-3E7F-4F13-B36C-D031C9F83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0D4E4-9CBB-4B7E-9F27-5D32C6360418}" type="slidenum">
              <a:rPr lang="sv-SE" smtClean="0"/>
              <a:t>‹#›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C48C5FE8-E608-4A0B-AFE0-377EA891C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624750"/>
            <a:ext cx="6775718" cy="87156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23" name="Platshållare för text 6">
            <a:extLst>
              <a:ext uri="{FF2B5EF4-FFF2-40B4-BE49-F238E27FC236}">
                <a16:creationId xmlns:a16="http://schemas.microsoft.com/office/drawing/2014/main" id="{8CDF427A-3C40-43D1-AD07-374C42BF5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0087" y="1673225"/>
            <a:ext cx="4003100" cy="3916363"/>
          </a:xfrm>
          <a:custGeom>
            <a:avLst/>
            <a:gdLst>
              <a:gd name="connsiteX0" fmla="*/ 1933354 w 4003100"/>
              <a:gd name="connsiteY0" fmla="*/ 0 h 3916363"/>
              <a:gd name="connsiteX1" fmla="*/ 2006404 w 4003100"/>
              <a:gd name="connsiteY1" fmla="*/ 0 h 3916363"/>
              <a:gd name="connsiteX2" fmla="*/ 3402468 w 4003100"/>
              <a:gd name="connsiteY2" fmla="*/ 551943 h 3916363"/>
              <a:gd name="connsiteX3" fmla="*/ 4003100 w 4003100"/>
              <a:gd name="connsiteY3" fmla="*/ 1956152 h 3916363"/>
              <a:gd name="connsiteX4" fmla="*/ 3402468 w 4003100"/>
              <a:gd name="connsiteY4" fmla="*/ 3364420 h 3916363"/>
              <a:gd name="connsiteX5" fmla="*/ 2006404 w 4003100"/>
              <a:gd name="connsiteY5" fmla="*/ 3916363 h 3916363"/>
              <a:gd name="connsiteX6" fmla="*/ 9708 w 4003100"/>
              <a:gd name="connsiteY6" fmla="*/ 3912305 h 3916363"/>
              <a:gd name="connsiteX7" fmla="*/ 1591 w 4003100"/>
              <a:gd name="connsiteY7" fmla="*/ 3896071 h 3916363"/>
              <a:gd name="connsiteX8" fmla="*/ 1933354 w 4003100"/>
              <a:gd name="connsiteY8" fmla="*/ 0 h 391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03100" h="3916363">
                <a:moveTo>
                  <a:pt x="1933354" y="0"/>
                </a:moveTo>
                <a:cubicBezTo>
                  <a:pt x="1977996" y="0"/>
                  <a:pt x="2006404" y="0"/>
                  <a:pt x="2006404" y="0"/>
                </a:cubicBezTo>
                <a:cubicBezTo>
                  <a:pt x="2655736" y="20292"/>
                  <a:pt x="3053452" y="219154"/>
                  <a:pt x="3402468" y="551943"/>
                </a:cubicBezTo>
                <a:cubicBezTo>
                  <a:pt x="3771776" y="896908"/>
                  <a:pt x="4003100" y="1392034"/>
                  <a:pt x="4003100" y="1956152"/>
                </a:cubicBezTo>
                <a:cubicBezTo>
                  <a:pt x="4003100" y="2520271"/>
                  <a:pt x="3771776" y="3015397"/>
                  <a:pt x="3402468" y="3364420"/>
                </a:cubicBezTo>
                <a:cubicBezTo>
                  <a:pt x="3053452" y="3693151"/>
                  <a:pt x="2655736" y="3892013"/>
                  <a:pt x="2006404" y="3916363"/>
                </a:cubicBezTo>
                <a:cubicBezTo>
                  <a:pt x="2002346" y="3916363"/>
                  <a:pt x="9708" y="3912305"/>
                  <a:pt x="9708" y="3912305"/>
                </a:cubicBezTo>
                <a:cubicBezTo>
                  <a:pt x="1591" y="3912305"/>
                  <a:pt x="-2467" y="3904188"/>
                  <a:pt x="1591" y="3896071"/>
                </a:cubicBezTo>
                <a:cubicBezTo>
                  <a:pt x="5649" y="3892013"/>
                  <a:pt x="1933354" y="0"/>
                  <a:pt x="1933354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1512000" tIns="0" rIns="432000" bIns="0" anchor="ctr" anchorCtr="0">
            <a:noAutofit/>
          </a:bodyPr>
          <a:lstStyle>
            <a:lvl1pPr marL="0" indent="0" algn="l">
              <a:buFontTx/>
              <a:buNone/>
              <a:defRPr sz="2600" b="1">
                <a:solidFill>
                  <a:schemeClr val="bg2"/>
                </a:solidFill>
              </a:defRPr>
            </a:lvl1pPr>
            <a:lvl2pPr marL="457189" indent="0" algn="l">
              <a:buFontTx/>
              <a:buNone/>
              <a:defRPr sz="2600">
                <a:solidFill>
                  <a:schemeClr val="bg2"/>
                </a:solidFill>
              </a:defRPr>
            </a:lvl2pPr>
            <a:lvl3pPr marL="914377" indent="0" algn="l">
              <a:buFontTx/>
              <a:buNone/>
              <a:defRPr sz="2600">
                <a:solidFill>
                  <a:schemeClr val="bg2"/>
                </a:solidFill>
              </a:defRPr>
            </a:lvl3pPr>
            <a:lvl4pPr marL="1371566" indent="0" algn="l">
              <a:buFontTx/>
              <a:buNone/>
              <a:defRPr sz="2600">
                <a:solidFill>
                  <a:schemeClr val="bg2"/>
                </a:solidFill>
              </a:defRPr>
            </a:lvl4pPr>
            <a:lvl5pPr marL="1828754" indent="0" algn="l">
              <a:buFontTx/>
              <a:buNone/>
              <a:defRPr sz="26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Klicka här för att lägga till text</a:t>
            </a:r>
          </a:p>
        </p:txBody>
      </p:sp>
      <p:sp>
        <p:nvSpPr>
          <p:cNvPr id="9" name="Platshållare för text 2">
            <a:extLst>
              <a:ext uri="{FF2B5EF4-FFF2-40B4-BE49-F238E27FC236}">
                <a16:creationId xmlns:a16="http://schemas.microsoft.com/office/drawing/2014/main" id="{2FB393F3-9EA5-4C11-B4B1-9D0C2D183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701" y="1673224"/>
            <a:ext cx="6775718" cy="40957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41167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34701" y="1417636"/>
            <a:ext cx="10931825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marL="625459" lvl="2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sv-SE" dirty="0"/>
              <a:t>Nivå fyra</a:t>
            </a:r>
          </a:p>
          <a:p>
            <a:pPr marL="625459" lvl="2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sv-SE" dirty="0"/>
              <a:t>Nivå fem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0832" y="404814"/>
            <a:ext cx="10969365" cy="915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4" y="6282317"/>
            <a:ext cx="313252" cy="144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6DDC476-83E3-45FD-9149-815E188A766B}"/>
              </a:ext>
            </a:extLst>
          </p:cNvPr>
          <p:cNvGrpSpPr/>
          <p:nvPr userDrawn="1"/>
        </p:nvGrpSpPr>
        <p:grpSpPr>
          <a:xfrm>
            <a:off x="9835686" y="6074987"/>
            <a:ext cx="1735478" cy="326438"/>
            <a:chOff x="9835686" y="6074987"/>
            <a:chExt cx="1735478" cy="326438"/>
          </a:xfrm>
        </p:grpSpPr>
        <p:sp>
          <p:nvSpPr>
            <p:cNvPr id="7" name="Frihandsfigur: Form 6">
              <a:extLst>
                <a:ext uri="{FF2B5EF4-FFF2-40B4-BE49-F238E27FC236}">
                  <a16:creationId xmlns:a16="http://schemas.microsoft.com/office/drawing/2014/main" id="{9A0A7410-583F-45E8-BBCD-AE98B4E2E322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443C6C97-D75C-42EF-A211-D646AFF14016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0467FF21-2112-4EAF-9845-58D184B5A613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79DF19BC-E449-4291-8F73-046A542DD0E9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DD8327C4-308D-4EE2-83AC-49E497158943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65C81A41-CA10-4E19-885E-ADC457C0600F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2C6DE758-CA3D-430D-BDEB-6B3AAE447F9E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4B10DD17-F7DE-4271-A2A3-704EA63317BA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740223B7-B19F-418D-A2F4-DBC62FB2CFA2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F40516B8-BEB4-4859-B45C-7CD1C391B8FF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85474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40" r:id="rId5"/>
    <p:sldLayoutId id="2147483741" r:id="rId6"/>
    <p:sldLayoutId id="2147483742" r:id="rId7"/>
    <p:sldLayoutId id="2147483737" r:id="rId8"/>
    <p:sldLayoutId id="2147483739" r:id="rId9"/>
    <p:sldLayoutId id="2147483738" r:id="rId10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27" indent="-182558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sv-SE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sv-SE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65225" indent="-180975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511425" indent="7938" algn="l" defTabSz="9271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>
          <a:tab pos="20605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90">
          <p15:clr>
            <a:srgbClr val="A4A3A4"/>
          </p15:clr>
        </p15:guide>
        <p15:guide id="4" orient="horz" pos="837">
          <p15:clr>
            <a:srgbClr val="A4A3A4"/>
          </p15:clr>
        </p15:guide>
        <p15:guide id="5" orient="horz" pos="255">
          <p15:clr>
            <a:srgbClr val="A4A3A4"/>
          </p15:clr>
        </p15:guide>
        <p15:guide id="6" pos="395">
          <p15:clr>
            <a:srgbClr val="A4A3A4"/>
          </p15:clr>
        </p15:guide>
        <p15:guide id="7" pos="7287">
          <p15:clr>
            <a:srgbClr val="A4A3A4"/>
          </p15:clr>
        </p15:guide>
        <p15:guide id="8" orient="horz" pos="363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34701" y="1417636"/>
            <a:ext cx="10931825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0832" y="404814"/>
            <a:ext cx="10969365" cy="915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4" y="6282317"/>
            <a:ext cx="313252" cy="144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9C64CB49-50BB-4C63-ACFD-5D6552D3B2AE}"/>
              </a:ext>
            </a:extLst>
          </p:cNvPr>
          <p:cNvGrpSpPr/>
          <p:nvPr userDrawn="1"/>
        </p:nvGrpSpPr>
        <p:grpSpPr>
          <a:xfrm>
            <a:off x="9835686" y="6074987"/>
            <a:ext cx="1735478" cy="326438"/>
            <a:chOff x="9835686" y="6074987"/>
            <a:chExt cx="1735478" cy="326438"/>
          </a:xfrm>
        </p:grpSpPr>
        <p:sp>
          <p:nvSpPr>
            <p:cNvPr id="7" name="Frihandsfigur: Form 6">
              <a:extLst>
                <a:ext uri="{FF2B5EF4-FFF2-40B4-BE49-F238E27FC236}">
                  <a16:creationId xmlns:a16="http://schemas.microsoft.com/office/drawing/2014/main" id="{403DD69A-BF9C-48DF-95FD-CAA350A8A916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C3F24C9B-D00E-4B93-A174-355736D604BC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C1F3F9A0-517E-4768-8E7C-888BD4D9F3F1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9D71D1FE-53F8-4C08-8BDC-B148A115F2A5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DAD06676-2EF2-4367-A87F-117D07B717F0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EF17BE34-60DF-4D2F-BFF1-739708A80331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D2D3D4C5-CD55-4922-8334-8B405278593C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B14C1FA1-5A82-458E-A114-A31CA030F69A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FFC8107F-5679-4567-B64F-7CBBEA83CD24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529C3DDB-6C45-4193-B13C-B1E47E232BAF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3362062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27" indent="-182558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90">
          <p15:clr>
            <a:srgbClr val="A4A3A4"/>
          </p15:clr>
        </p15:guide>
        <p15:guide id="4" orient="horz" pos="837">
          <p15:clr>
            <a:srgbClr val="A4A3A4"/>
          </p15:clr>
        </p15:guide>
        <p15:guide id="5" orient="horz" pos="255">
          <p15:clr>
            <a:srgbClr val="A4A3A4"/>
          </p15:clr>
        </p15:guide>
        <p15:guide id="6" pos="395">
          <p15:clr>
            <a:srgbClr val="A4A3A4"/>
          </p15:clr>
        </p15:guide>
        <p15:guide id="7" pos="7287">
          <p15:clr>
            <a:srgbClr val="A4A3A4"/>
          </p15:clr>
        </p15:guide>
        <p15:guide id="9" orient="horz" pos="3644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5477" y="1773240"/>
            <a:ext cx="10941049" cy="40020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0832" y="404814"/>
            <a:ext cx="10969365" cy="915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4" y="6282317"/>
            <a:ext cx="313252" cy="144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9C8EFAF0-AE28-4D90-BEB1-4BF420B60D59}"/>
              </a:ext>
            </a:extLst>
          </p:cNvPr>
          <p:cNvGrpSpPr/>
          <p:nvPr userDrawn="1"/>
        </p:nvGrpSpPr>
        <p:grpSpPr>
          <a:xfrm>
            <a:off x="9835686" y="6074987"/>
            <a:ext cx="1735478" cy="326438"/>
            <a:chOff x="9835686" y="6074987"/>
            <a:chExt cx="1735478" cy="326438"/>
          </a:xfrm>
        </p:grpSpPr>
        <p:sp>
          <p:nvSpPr>
            <p:cNvPr id="7" name="Frihandsfigur: Form 6">
              <a:extLst>
                <a:ext uri="{FF2B5EF4-FFF2-40B4-BE49-F238E27FC236}">
                  <a16:creationId xmlns:a16="http://schemas.microsoft.com/office/drawing/2014/main" id="{8DE5013C-CAD8-43C8-85E0-DD7E39123761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EA12AF05-E275-460A-B000-53F84441820A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1DAF3E02-8CE6-42AA-806E-F5911554ABBD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561BA597-68D6-41B1-947F-3EF3FDC0D2FF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20DBFAD8-D091-4C95-B6EF-EB9258347594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83C9716D-269C-4A3B-8F05-5CF4E4D74C37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94C466CA-C072-4A5D-9C02-E7663932232A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416B436F-A631-4B23-8519-6E832588D56F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AD61AD9D-D751-484B-891B-2CFC4A769322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43408D6E-58D7-4613-A80B-68D90A008B96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42198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44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27" indent="-182558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1117">
          <p15:clr>
            <a:srgbClr val="A4A3A4"/>
          </p15:clr>
        </p15:guide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37">
          <p15:clr>
            <a:srgbClr val="A4A3A4"/>
          </p15:clr>
        </p15:guide>
        <p15:guide id="4" orient="horz" pos="255">
          <p15:clr>
            <a:srgbClr val="A4A3A4"/>
          </p15:clr>
        </p15:guide>
        <p15:guide id="5" pos="395">
          <p15:clr>
            <a:srgbClr val="A4A3A4"/>
          </p15:clr>
        </p15:guide>
        <p15:guide id="6" pos="7287">
          <p15:clr>
            <a:srgbClr val="A4A3A4"/>
          </p15:clr>
        </p15:guide>
        <p15:guide id="7" orient="horz" pos="3638">
          <p15:clr>
            <a:srgbClr val="A4A3A4"/>
          </p15:clr>
        </p15:guide>
        <p15:guide id="8" orient="horz" pos="89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5477" y="1859536"/>
            <a:ext cx="10941049" cy="391579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0832" y="404814"/>
            <a:ext cx="10969365" cy="915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4" y="6282317"/>
            <a:ext cx="313252" cy="144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E707D2E9-335C-4A5F-B6FE-C7E7F074BB3E}"/>
              </a:ext>
            </a:extLst>
          </p:cNvPr>
          <p:cNvGrpSpPr/>
          <p:nvPr userDrawn="1"/>
        </p:nvGrpSpPr>
        <p:grpSpPr>
          <a:xfrm>
            <a:off x="9835686" y="6074987"/>
            <a:ext cx="1735478" cy="326438"/>
            <a:chOff x="9835686" y="6074987"/>
            <a:chExt cx="1735478" cy="326438"/>
          </a:xfrm>
        </p:grpSpPr>
        <p:sp>
          <p:nvSpPr>
            <p:cNvPr id="7" name="Frihandsfigur: Form 6">
              <a:extLst>
                <a:ext uri="{FF2B5EF4-FFF2-40B4-BE49-F238E27FC236}">
                  <a16:creationId xmlns:a16="http://schemas.microsoft.com/office/drawing/2014/main" id="{9F4E1D50-2958-4136-AC9B-7EDC66BD3AFA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5074EAFB-36EF-4ABA-9460-9FBC8EB5A54C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DB72C720-786F-495D-B229-A458F89F5289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5BEA7A67-698F-4047-99FE-7535F7E0D380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5D66C2AE-7C85-4E82-8FD4-5DF3D58896C3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3FD89568-3BB5-4030-856E-27AC18E2BC5A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29A159E0-2F30-462D-A562-1C564479C24E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5FDCDF4B-14CA-485D-A72A-1CF80F5FDE97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13F3E23A-D2B6-43BE-821E-EB6C5B4811E2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1FA0684F-12F5-426F-B5A3-4F433CA3A4AE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2975232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27" indent="-182558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37">
          <p15:clr>
            <a:srgbClr val="A4A3A4"/>
          </p15:clr>
        </p15:guide>
        <p15:guide id="4" orient="horz" pos="255">
          <p15:clr>
            <a:srgbClr val="A4A3A4"/>
          </p15:clr>
        </p15:guide>
        <p15:guide id="5" pos="395">
          <p15:clr>
            <a:srgbClr val="A4A3A4"/>
          </p15:clr>
        </p15:guide>
        <p15:guide id="6" pos="7287">
          <p15:clr>
            <a:srgbClr val="A4A3A4"/>
          </p15:clr>
        </p15:guide>
        <p15:guide id="7" orient="horz" pos="3638">
          <p15:clr>
            <a:srgbClr val="A4A3A4"/>
          </p15:clr>
        </p15:guide>
        <p15:guide id="8" orient="horz" pos="1167">
          <p15:clr>
            <a:srgbClr val="A4A3A4"/>
          </p15:clr>
        </p15:guide>
        <p15:guide id="9" orient="horz" pos="890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0832" y="404814"/>
            <a:ext cx="10969365" cy="915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4" y="6282317"/>
            <a:ext cx="313252" cy="144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7D9A64F-750D-4E7D-A276-9A7D3F74441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Platshållare för text 2"/>
          <p:cNvSpPr>
            <a:spLocks noGrp="1"/>
          </p:cNvSpPr>
          <p:nvPr>
            <p:ph type="body" idx="1"/>
          </p:nvPr>
        </p:nvSpPr>
        <p:spPr>
          <a:xfrm>
            <a:off x="625477" y="1412876"/>
            <a:ext cx="10941049" cy="436245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grpSp>
        <p:nvGrpSpPr>
          <p:cNvPr id="7" name="Grupp 6">
            <a:extLst>
              <a:ext uri="{FF2B5EF4-FFF2-40B4-BE49-F238E27FC236}">
                <a16:creationId xmlns:a16="http://schemas.microsoft.com/office/drawing/2014/main" id="{36088DC7-8754-4A86-957E-3E3893AA3C4B}"/>
              </a:ext>
            </a:extLst>
          </p:cNvPr>
          <p:cNvGrpSpPr/>
          <p:nvPr userDrawn="1"/>
        </p:nvGrpSpPr>
        <p:grpSpPr>
          <a:xfrm>
            <a:off x="9835686" y="6074987"/>
            <a:ext cx="1735478" cy="326438"/>
            <a:chOff x="9835686" y="6074987"/>
            <a:chExt cx="1735478" cy="326438"/>
          </a:xfrm>
        </p:grpSpPr>
        <p:sp>
          <p:nvSpPr>
            <p:cNvPr id="9" name="Frihandsfigur: Form 8">
              <a:extLst>
                <a:ext uri="{FF2B5EF4-FFF2-40B4-BE49-F238E27FC236}">
                  <a16:creationId xmlns:a16="http://schemas.microsoft.com/office/drawing/2014/main" id="{56E66513-4841-4451-B845-A27C18550DE6}"/>
                </a:ext>
              </a:extLst>
            </p:cNvPr>
            <p:cNvSpPr/>
            <p:nvPr/>
          </p:nvSpPr>
          <p:spPr>
            <a:xfrm>
              <a:off x="10601343" y="6145925"/>
              <a:ext cx="183352" cy="188637"/>
            </a:xfrm>
            <a:custGeom>
              <a:avLst/>
              <a:gdLst>
                <a:gd name="connsiteX0" fmla="*/ 203997 w 407127"/>
                <a:gd name="connsiteY0" fmla="*/ 0 h 418861"/>
                <a:gd name="connsiteX1" fmla="*/ 0 w 407127"/>
                <a:gd name="connsiteY1" fmla="*/ 209359 h 418861"/>
                <a:gd name="connsiteX2" fmla="*/ 203997 w 407127"/>
                <a:gd name="connsiteY2" fmla="*/ 418862 h 418861"/>
                <a:gd name="connsiteX3" fmla="*/ 407127 w 407127"/>
                <a:gd name="connsiteY3" fmla="*/ 209359 h 418861"/>
                <a:gd name="connsiteX4" fmla="*/ 203997 w 407127"/>
                <a:gd name="connsiteY4" fmla="*/ 0 h 418861"/>
                <a:gd name="connsiteX5" fmla="*/ 203997 w 407127"/>
                <a:gd name="connsiteY5" fmla="*/ 354940 h 418861"/>
                <a:gd name="connsiteX6" fmla="*/ 82458 w 407127"/>
                <a:gd name="connsiteY6" fmla="*/ 209359 h 418861"/>
                <a:gd name="connsiteX7" fmla="*/ 203997 w 407127"/>
                <a:gd name="connsiteY7" fmla="*/ 63922 h 418861"/>
                <a:gd name="connsiteX8" fmla="*/ 324679 w 407127"/>
                <a:gd name="connsiteY8" fmla="*/ 209359 h 418861"/>
                <a:gd name="connsiteX9" fmla="*/ 203997 w 407127"/>
                <a:gd name="connsiteY9" fmla="*/ 354940 h 41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127" h="418861">
                  <a:moveTo>
                    <a:pt x="203997" y="0"/>
                  </a:moveTo>
                  <a:cubicBezTo>
                    <a:pt x="83887" y="0"/>
                    <a:pt x="0" y="86096"/>
                    <a:pt x="0" y="209359"/>
                  </a:cubicBezTo>
                  <a:cubicBezTo>
                    <a:pt x="0" y="328793"/>
                    <a:pt x="87716" y="418862"/>
                    <a:pt x="203997" y="418862"/>
                  </a:cubicBezTo>
                  <a:cubicBezTo>
                    <a:pt x="319802" y="418862"/>
                    <a:pt x="407127" y="328793"/>
                    <a:pt x="407127" y="209359"/>
                  </a:cubicBezTo>
                  <a:cubicBezTo>
                    <a:pt x="407127" y="86096"/>
                    <a:pt x="323583" y="0"/>
                    <a:pt x="203997" y="0"/>
                  </a:cubicBezTo>
                  <a:moveTo>
                    <a:pt x="203997" y="354940"/>
                  </a:moveTo>
                  <a:cubicBezTo>
                    <a:pt x="120501" y="354940"/>
                    <a:pt x="82458" y="279473"/>
                    <a:pt x="82458" y="209359"/>
                  </a:cubicBezTo>
                  <a:cubicBezTo>
                    <a:pt x="82458" y="138875"/>
                    <a:pt x="125054" y="63922"/>
                    <a:pt x="203997" y="63922"/>
                  </a:cubicBezTo>
                  <a:cubicBezTo>
                    <a:pt x="282378" y="63922"/>
                    <a:pt x="324679" y="138875"/>
                    <a:pt x="324679" y="209359"/>
                  </a:cubicBezTo>
                  <a:cubicBezTo>
                    <a:pt x="324679" y="279473"/>
                    <a:pt x="287493" y="354940"/>
                    <a:pt x="203997" y="354940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0" name="Frihandsfigur: Form 9">
              <a:extLst>
                <a:ext uri="{FF2B5EF4-FFF2-40B4-BE49-F238E27FC236}">
                  <a16:creationId xmlns:a16="http://schemas.microsoft.com/office/drawing/2014/main" id="{59CE7E1E-D3E4-4A0A-8F8D-00B6FFB280A7}"/>
                </a:ext>
              </a:extLst>
            </p:cNvPr>
            <p:cNvSpPr/>
            <p:nvPr/>
          </p:nvSpPr>
          <p:spPr>
            <a:xfrm>
              <a:off x="10922765" y="6145650"/>
              <a:ext cx="168801" cy="189165"/>
            </a:xfrm>
            <a:custGeom>
              <a:avLst/>
              <a:gdLst>
                <a:gd name="connsiteX0" fmla="*/ 192310 w 374817"/>
                <a:gd name="connsiteY0" fmla="*/ 0 h 420033"/>
                <a:gd name="connsiteX1" fmla="*/ 0 w 374817"/>
                <a:gd name="connsiteY1" fmla="*/ 204768 h 420033"/>
                <a:gd name="connsiteX2" fmla="*/ 215370 w 374817"/>
                <a:gd name="connsiteY2" fmla="*/ 420033 h 420033"/>
                <a:gd name="connsiteX3" fmla="*/ 346729 w 374817"/>
                <a:gd name="connsiteY3" fmla="*/ 392802 h 420033"/>
                <a:gd name="connsiteX4" fmla="*/ 346729 w 374817"/>
                <a:gd name="connsiteY4" fmla="*/ 315620 h 420033"/>
                <a:gd name="connsiteX5" fmla="*/ 218637 w 374817"/>
                <a:gd name="connsiteY5" fmla="*/ 355092 h 420033"/>
                <a:gd name="connsiteX6" fmla="*/ 81582 w 374817"/>
                <a:gd name="connsiteY6" fmla="*/ 233258 h 420033"/>
                <a:gd name="connsiteX7" fmla="*/ 374694 w 374817"/>
                <a:gd name="connsiteY7" fmla="*/ 233258 h 420033"/>
                <a:gd name="connsiteX8" fmla="*/ 192310 w 374817"/>
                <a:gd name="connsiteY8" fmla="*/ 0 h 420033"/>
                <a:gd name="connsiteX9" fmla="*/ 78600 w 374817"/>
                <a:gd name="connsiteY9" fmla="*/ 173374 h 420033"/>
                <a:gd name="connsiteX10" fmla="*/ 190357 w 374817"/>
                <a:gd name="connsiteY10" fmla="*/ 62941 h 420033"/>
                <a:gd name="connsiteX11" fmla="*/ 293951 w 374817"/>
                <a:gd name="connsiteY11" fmla="*/ 173374 h 420033"/>
                <a:gd name="connsiteX12" fmla="*/ 78600 w 374817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17" h="420033">
                  <a:moveTo>
                    <a:pt x="192310" y="0"/>
                  </a:moveTo>
                  <a:cubicBezTo>
                    <a:pt x="7484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70" y="420033"/>
                  </a:cubicBezTo>
                  <a:cubicBezTo>
                    <a:pt x="283902" y="420033"/>
                    <a:pt x="317344" y="402860"/>
                    <a:pt x="346729" y="392802"/>
                  </a:cubicBezTo>
                  <a:lnTo>
                    <a:pt x="346729" y="315620"/>
                  </a:lnTo>
                  <a:cubicBezTo>
                    <a:pt x="327974" y="330337"/>
                    <a:pt x="269215" y="355092"/>
                    <a:pt x="218637" y="355092"/>
                  </a:cubicBezTo>
                  <a:cubicBezTo>
                    <a:pt x="146028" y="355092"/>
                    <a:pt x="81582" y="311401"/>
                    <a:pt x="81582" y="233258"/>
                  </a:cubicBezTo>
                  <a:lnTo>
                    <a:pt x="374694" y="233258"/>
                  </a:lnTo>
                  <a:cubicBezTo>
                    <a:pt x="377561" y="105699"/>
                    <a:pt x="330546" y="0"/>
                    <a:pt x="192310" y="0"/>
                  </a:cubicBezTo>
                  <a:moveTo>
                    <a:pt x="78600" y="173374"/>
                  </a:moveTo>
                  <a:cubicBezTo>
                    <a:pt x="84315" y="122301"/>
                    <a:pt x="115281" y="62941"/>
                    <a:pt x="190357" y="62941"/>
                  </a:cubicBezTo>
                  <a:cubicBezTo>
                    <a:pt x="256423" y="62941"/>
                    <a:pt x="293951" y="113024"/>
                    <a:pt x="293951" y="173374"/>
                  </a:cubicBezTo>
                  <a:lnTo>
                    <a:pt x="78600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3" name="Frihandsfigur: Form 12">
              <a:extLst>
                <a:ext uri="{FF2B5EF4-FFF2-40B4-BE49-F238E27FC236}">
                  <a16:creationId xmlns:a16="http://schemas.microsoft.com/office/drawing/2014/main" id="{83B7B6B6-EF06-4601-A443-92A2082E4875}"/>
                </a:ext>
              </a:extLst>
            </p:cNvPr>
            <p:cNvSpPr/>
            <p:nvPr/>
          </p:nvSpPr>
          <p:spPr>
            <a:xfrm>
              <a:off x="11275232" y="6145650"/>
              <a:ext cx="168797" cy="189165"/>
            </a:xfrm>
            <a:custGeom>
              <a:avLst/>
              <a:gdLst>
                <a:gd name="connsiteX0" fmla="*/ 192300 w 374808"/>
                <a:gd name="connsiteY0" fmla="*/ 0 h 420033"/>
                <a:gd name="connsiteX1" fmla="*/ 0 w 374808"/>
                <a:gd name="connsiteY1" fmla="*/ 204768 h 420033"/>
                <a:gd name="connsiteX2" fmla="*/ 215360 w 374808"/>
                <a:gd name="connsiteY2" fmla="*/ 420033 h 420033"/>
                <a:gd name="connsiteX3" fmla="*/ 346720 w 374808"/>
                <a:gd name="connsiteY3" fmla="*/ 392802 h 420033"/>
                <a:gd name="connsiteX4" fmla="*/ 346720 w 374808"/>
                <a:gd name="connsiteY4" fmla="*/ 315620 h 420033"/>
                <a:gd name="connsiteX5" fmla="*/ 218627 w 374808"/>
                <a:gd name="connsiteY5" fmla="*/ 355092 h 420033"/>
                <a:gd name="connsiteX6" fmla="*/ 81572 w 374808"/>
                <a:gd name="connsiteY6" fmla="*/ 233258 h 420033"/>
                <a:gd name="connsiteX7" fmla="*/ 374685 w 374808"/>
                <a:gd name="connsiteY7" fmla="*/ 233258 h 420033"/>
                <a:gd name="connsiteX8" fmla="*/ 192300 w 374808"/>
                <a:gd name="connsiteY8" fmla="*/ 0 h 420033"/>
                <a:gd name="connsiteX9" fmla="*/ 78591 w 374808"/>
                <a:gd name="connsiteY9" fmla="*/ 173374 h 420033"/>
                <a:gd name="connsiteX10" fmla="*/ 190357 w 374808"/>
                <a:gd name="connsiteY10" fmla="*/ 62941 h 420033"/>
                <a:gd name="connsiteX11" fmla="*/ 293941 w 374808"/>
                <a:gd name="connsiteY11" fmla="*/ 173374 h 420033"/>
                <a:gd name="connsiteX12" fmla="*/ 78591 w 374808"/>
                <a:gd name="connsiteY12" fmla="*/ 173374 h 42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4808" h="420033">
                  <a:moveTo>
                    <a:pt x="192300" y="0"/>
                  </a:moveTo>
                  <a:cubicBezTo>
                    <a:pt x="74838" y="0"/>
                    <a:pt x="0" y="87906"/>
                    <a:pt x="0" y="204768"/>
                  </a:cubicBezTo>
                  <a:cubicBezTo>
                    <a:pt x="0" y="333204"/>
                    <a:pt x="75619" y="420033"/>
                    <a:pt x="215360" y="420033"/>
                  </a:cubicBezTo>
                  <a:cubicBezTo>
                    <a:pt x="283893" y="420033"/>
                    <a:pt x="317335" y="402860"/>
                    <a:pt x="346720" y="392802"/>
                  </a:cubicBezTo>
                  <a:lnTo>
                    <a:pt x="346720" y="315620"/>
                  </a:lnTo>
                  <a:cubicBezTo>
                    <a:pt x="327965" y="330337"/>
                    <a:pt x="269205" y="355092"/>
                    <a:pt x="218627" y="355092"/>
                  </a:cubicBezTo>
                  <a:cubicBezTo>
                    <a:pt x="146018" y="355092"/>
                    <a:pt x="81572" y="311401"/>
                    <a:pt x="81572" y="233258"/>
                  </a:cubicBezTo>
                  <a:lnTo>
                    <a:pt x="374685" y="233258"/>
                  </a:lnTo>
                  <a:cubicBezTo>
                    <a:pt x="377562" y="105699"/>
                    <a:pt x="330537" y="0"/>
                    <a:pt x="192300" y="0"/>
                  </a:cubicBezTo>
                  <a:moveTo>
                    <a:pt x="78591" y="173374"/>
                  </a:moveTo>
                  <a:cubicBezTo>
                    <a:pt x="84306" y="122301"/>
                    <a:pt x="115281" y="62941"/>
                    <a:pt x="190357" y="62941"/>
                  </a:cubicBezTo>
                  <a:cubicBezTo>
                    <a:pt x="256413" y="62941"/>
                    <a:pt x="293941" y="113024"/>
                    <a:pt x="293941" y="173374"/>
                  </a:cubicBezTo>
                  <a:lnTo>
                    <a:pt x="78591" y="17337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4" name="Frihandsfigur: Form 13">
              <a:extLst>
                <a:ext uri="{FF2B5EF4-FFF2-40B4-BE49-F238E27FC236}">
                  <a16:creationId xmlns:a16="http://schemas.microsoft.com/office/drawing/2014/main" id="{EC1F127E-26CD-4579-B4EA-420E4B65081E}"/>
                </a:ext>
              </a:extLst>
            </p:cNvPr>
            <p:cNvSpPr/>
            <p:nvPr/>
          </p:nvSpPr>
          <p:spPr>
            <a:xfrm>
              <a:off x="10794565" y="6103620"/>
              <a:ext cx="114580" cy="231187"/>
            </a:xfrm>
            <a:custGeom>
              <a:avLst/>
              <a:gdLst>
                <a:gd name="connsiteX0" fmla="*/ 144456 w 254422"/>
                <a:gd name="connsiteY0" fmla="*/ 380524 h 513340"/>
                <a:gd name="connsiteX1" fmla="*/ 144456 w 254422"/>
                <a:gd name="connsiteY1" fmla="*/ 170221 h 513340"/>
                <a:gd name="connsiteX2" fmla="*/ 234448 w 254422"/>
                <a:gd name="connsiteY2" fmla="*/ 170221 h 513340"/>
                <a:gd name="connsiteX3" fmla="*/ 234448 w 254422"/>
                <a:gd name="connsiteY3" fmla="*/ 103127 h 513340"/>
                <a:gd name="connsiteX4" fmla="*/ 144456 w 254422"/>
                <a:gd name="connsiteY4" fmla="*/ 103127 h 513340"/>
                <a:gd name="connsiteX5" fmla="*/ 144456 w 254422"/>
                <a:gd name="connsiteY5" fmla="*/ 0 h 513340"/>
                <a:gd name="connsiteX6" fmla="*/ 63522 w 254422"/>
                <a:gd name="connsiteY6" fmla="*/ 30194 h 513340"/>
                <a:gd name="connsiteX7" fmla="*/ 63522 w 254422"/>
                <a:gd name="connsiteY7" fmla="*/ 103127 h 513340"/>
                <a:gd name="connsiteX8" fmla="*/ 0 w 254422"/>
                <a:gd name="connsiteY8" fmla="*/ 103127 h 513340"/>
                <a:gd name="connsiteX9" fmla="*/ 0 w 254422"/>
                <a:gd name="connsiteY9" fmla="*/ 170221 h 513340"/>
                <a:gd name="connsiteX10" fmla="*/ 63522 w 254422"/>
                <a:gd name="connsiteY10" fmla="*/ 170221 h 513340"/>
                <a:gd name="connsiteX11" fmla="*/ 63522 w 254422"/>
                <a:gd name="connsiteY11" fmla="*/ 395145 h 513340"/>
                <a:gd name="connsiteX12" fmla="*/ 188595 w 254422"/>
                <a:gd name="connsiteY12" fmla="*/ 513340 h 513340"/>
                <a:gd name="connsiteX13" fmla="*/ 254422 w 254422"/>
                <a:gd name="connsiteY13" fmla="*/ 501301 h 513340"/>
                <a:gd name="connsiteX14" fmla="*/ 254422 w 254422"/>
                <a:gd name="connsiteY14" fmla="*/ 428816 h 513340"/>
                <a:gd name="connsiteX15" fmla="*/ 200892 w 254422"/>
                <a:gd name="connsiteY15" fmla="*/ 446218 h 513340"/>
                <a:gd name="connsiteX16" fmla="*/ 144456 w 254422"/>
                <a:gd name="connsiteY16" fmla="*/ 380524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144456" y="380524"/>
                  </a:moveTo>
                  <a:lnTo>
                    <a:pt x="144456" y="170221"/>
                  </a:lnTo>
                  <a:lnTo>
                    <a:pt x="234448" y="170221"/>
                  </a:lnTo>
                  <a:lnTo>
                    <a:pt x="234448" y="103127"/>
                  </a:lnTo>
                  <a:lnTo>
                    <a:pt x="144456" y="103127"/>
                  </a:lnTo>
                  <a:lnTo>
                    <a:pt x="144456" y="0"/>
                  </a:lnTo>
                  <a:lnTo>
                    <a:pt x="63522" y="30194"/>
                  </a:lnTo>
                  <a:lnTo>
                    <a:pt x="63522" y="103127"/>
                  </a:lnTo>
                  <a:lnTo>
                    <a:pt x="0" y="103127"/>
                  </a:lnTo>
                  <a:lnTo>
                    <a:pt x="0" y="170221"/>
                  </a:lnTo>
                  <a:lnTo>
                    <a:pt x="63522" y="170221"/>
                  </a:lnTo>
                  <a:lnTo>
                    <a:pt x="63522" y="395145"/>
                  </a:lnTo>
                  <a:cubicBezTo>
                    <a:pt x="63522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703"/>
                    <a:pt x="218418" y="446218"/>
                    <a:pt x="200892" y="446218"/>
                  </a:cubicBezTo>
                  <a:cubicBezTo>
                    <a:pt x="172784" y="446218"/>
                    <a:pt x="144418" y="425920"/>
                    <a:pt x="144456" y="38052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5" name="Frihandsfigur: Form 14">
              <a:extLst>
                <a:ext uri="{FF2B5EF4-FFF2-40B4-BE49-F238E27FC236}">
                  <a16:creationId xmlns:a16="http://schemas.microsoft.com/office/drawing/2014/main" id="{891BB318-646C-495E-BF97-73A95345D36E}"/>
                </a:ext>
              </a:extLst>
            </p:cNvPr>
            <p:cNvSpPr/>
            <p:nvPr/>
          </p:nvSpPr>
          <p:spPr>
            <a:xfrm>
              <a:off x="11456584" y="6103620"/>
              <a:ext cx="114580" cy="231187"/>
            </a:xfrm>
            <a:custGeom>
              <a:avLst/>
              <a:gdLst>
                <a:gd name="connsiteX0" fmla="*/ 200892 w 254422"/>
                <a:gd name="connsiteY0" fmla="*/ 446218 h 513340"/>
                <a:gd name="connsiteX1" fmla="*/ 144456 w 254422"/>
                <a:gd name="connsiteY1" fmla="*/ 380524 h 513340"/>
                <a:gd name="connsiteX2" fmla="*/ 144456 w 254422"/>
                <a:gd name="connsiteY2" fmla="*/ 170221 h 513340"/>
                <a:gd name="connsiteX3" fmla="*/ 234439 w 254422"/>
                <a:gd name="connsiteY3" fmla="*/ 170221 h 513340"/>
                <a:gd name="connsiteX4" fmla="*/ 234439 w 254422"/>
                <a:gd name="connsiteY4" fmla="*/ 103118 h 513340"/>
                <a:gd name="connsiteX5" fmla="*/ 144456 w 254422"/>
                <a:gd name="connsiteY5" fmla="*/ 103118 h 513340"/>
                <a:gd name="connsiteX6" fmla="*/ 144456 w 254422"/>
                <a:gd name="connsiteY6" fmla="*/ 0 h 513340"/>
                <a:gd name="connsiteX7" fmla="*/ 63513 w 254422"/>
                <a:gd name="connsiteY7" fmla="*/ 30194 h 513340"/>
                <a:gd name="connsiteX8" fmla="*/ 63513 w 254422"/>
                <a:gd name="connsiteY8" fmla="*/ 103118 h 513340"/>
                <a:gd name="connsiteX9" fmla="*/ 0 w 254422"/>
                <a:gd name="connsiteY9" fmla="*/ 103118 h 513340"/>
                <a:gd name="connsiteX10" fmla="*/ 0 w 254422"/>
                <a:gd name="connsiteY10" fmla="*/ 170221 h 513340"/>
                <a:gd name="connsiteX11" fmla="*/ 63513 w 254422"/>
                <a:gd name="connsiteY11" fmla="*/ 170221 h 513340"/>
                <a:gd name="connsiteX12" fmla="*/ 63513 w 254422"/>
                <a:gd name="connsiteY12" fmla="*/ 395135 h 513340"/>
                <a:gd name="connsiteX13" fmla="*/ 188595 w 254422"/>
                <a:gd name="connsiteY13" fmla="*/ 513340 h 513340"/>
                <a:gd name="connsiteX14" fmla="*/ 254422 w 254422"/>
                <a:gd name="connsiteY14" fmla="*/ 501301 h 513340"/>
                <a:gd name="connsiteX15" fmla="*/ 254422 w 254422"/>
                <a:gd name="connsiteY15" fmla="*/ 428816 h 513340"/>
                <a:gd name="connsiteX16" fmla="*/ 200892 w 254422"/>
                <a:gd name="connsiteY16" fmla="*/ 446218 h 51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422" h="513340">
                  <a:moveTo>
                    <a:pt x="200892" y="446218"/>
                  </a:moveTo>
                  <a:cubicBezTo>
                    <a:pt x="172783" y="446218"/>
                    <a:pt x="144418" y="425920"/>
                    <a:pt x="144456" y="380524"/>
                  </a:cubicBezTo>
                  <a:lnTo>
                    <a:pt x="144456" y="170221"/>
                  </a:lnTo>
                  <a:lnTo>
                    <a:pt x="234439" y="170221"/>
                  </a:lnTo>
                  <a:lnTo>
                    <a:pt x="234439" y="103118"/>
                  </a:lnTo>
                  <a:lnTo>
                    <a:pt x="144456" y="103118"/>
                  </a:lnTo>
                  <a:lnTo>
                    <a:pt x="144456" y="0"/>
                  </a:lnTo>
                  <a:lnTo>
                    <a:pt x="63513" y="30194"/>
                  </a:lnTo>
                  <a:lnTo>
                    <a:pt x="63513" y="103118"/>
                  </a:lnTo>
                  <a:lnTo>
                    <a:pt x="0" y="103118"/>
                  </a:lnTo>
                  <a:lnTo>
                    <a:pt x="0" y="170221"/>
                  </a:lnTo>
                  <a:lnTo>
                    <a:pt x="63513" y="170221"/>
                  </a:lnTo>
                  <a:lnTo>
                    <a:pt x="63513" y="395135"/>
                  </a:lnTo>
                  <a:cubicBezTo>
                    <a:pt x="63513" y="472450"/>
                    <a:pt x="106766" y="513340"/>
                    <a:pt x="188595" y="513340"/>
                  </a:cubicBezTo>
                  <a:cubicBezTo>
                    <a:pt x="213074" y="513340"/>
                    <a:pt x="239563" y="506244"/>
                    <a:pt x="254422" y="501301"/>
                  </a:cubicBezTo>
                  <a:lnTo>
                    <a:pt x="254422" y="428816"/>
                  </a:lnTo>
                  <a:cubicBezTo>
                    <a:pt x="234677" y="442693"/>
                    <a:pt x="218408" y="446218"/>
                    <a:pt x="200892" y="446218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 dirty="0"/>
            </a:p>
          </p:txBody>
        </p:sp>
        <p:sp>
          <p:nvSpPr>
            <p:cNvPr id="16" name="Frihandsfigur: Form 15">
              <a:extLst>
                <a:ext uri="{FF2B5EF4-FFF2-40B4-BE49-F238E27FC236}">
                  <a16:creationId xmlns:a16="http://schemas.microsoft.com/office/drawing/2014/main" id="{F61BC1F1-1E97-4057-90B7-95B2F45F594C}"/>
                </a:ext>
              </a:extLst>
            </p:cNvPr>
            <p:cNvSpPr/>
            <p:nvPr/>
          </p:nvSpPr>
          <p:spPr>
            <a:xfrm>
              <a:off x="10406507" y="6145822"/>
              <a:ext cx="171881" cy="247736"/>
            </a:xfrm>
            <a:custGeom>
              <a:avLst/>
              <a:gdLst>
                <a:gd name="connsiteX0" fmla="*/ 208121 w 381657"/>
                <a:gd name="connsiteY0" fmla="*/ 0 h 550087"/>
                <a:gd name="connsiteX1" fmla="*/ 77857 w 381657"/>
                <a:gd name="connsiteY1" fmla="*/ 58064 h 550087"/>
                <a:gd name="connsiteX2" fmla="*/ 77857 w 381657"/>
                <a:gd name="connsiteY2" fmla="*/ 9211 h 550087"/>
                <a:gd name="connsiteX3" fmla="*/ 0 w 381657"/>
                <a:gd name="connsiteY3" fmla="*/ 9211 h 550087"/>
                <a:gd name="connsiteX4" fmla="*/ 0 w 381657"/>
                <a:gd name="connsiteY4" fmla="*/ 550088 h 550087"/>
                <a:gd name="connsiteX5" fmla="*/ 80934 w 381657"/>
                <a:gd name="connsiteY5" fmla="*/ 550088 h 550087"/>
                <a:gd name="connsiteX6" fmla="*/ 80934 w 381657"/>
                <a:gd name="connsiteY6" fmla="*/ 363379 h 550087"/>
                <a:gd name="connsiteX7" fmla="*/ 208912 w 381657"/>
                <a:gd name="connsiteY7" fmla="*/ 419424 h 550087"/>
                <a:gd name="connsiteX8" fmla="*/ 381657 w 381657"/>
                <a:gd name="connsiteY8" fmla="*/ 202749 h 550087"/>
                <a:gd name="connsiteX9" fmla="*/ 208121 w 381657"/>
                <a:gd name="connsiteY9" fmla="*/ 0 h 550087"/>
                <a:gd name="connsiteX10" fmla="*/ 191986 w 381657"/>
                <a:gd name="connsiteY10" fmla="*/ 356654 h 550087"/>
                <a:gd name="connsiteX11" fmla="*/ 76619 w 381657"/>
                <a:gd name="connsiteY11" fmla="*/ 210426 h 550087"/>
                <a:gd name="connsiteX12" fmla="*/ 192748 w 381657"/>
                <a:gd name="connsiteY12" fmla="*/ 62760 h 550087"/>
                <a:gd name="connsiteX13" fmla="*/ 300437 w 381657"/>
                <a:gd name="connsiteY13" fmla="*/ 208121 h 550087"/>
                <a:gd name="connsiteX14" fmla="*/ 191986 w 381657"/>
                <a:gd name="connsiteY14" fmla="*/ 356654 h 5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657" h="550087">
                  <a:moveTo>
                    <a:pt x="208121" y="0"/>
                  </a:moveTo>
                  <a:cubicBezTo>
                    <a:pt x="145628" y="0"/>
                    <a:pt x="101279" y="28623"/>
                    <a:pt x="77857" y="58064"/>
                  </a:cubicBezTo>
                  <a:lnTo>
                    <a:pt x="77857" y="9211"/>
                  </a:lnTo>
                  <a:lnTo>
                    <a:pt x="0" y="9211"/>
                  </a:lnTo>
                  <a:lnTo>
                    <a:pt x="0" y="550088"/>
                  </a:lnTo>
                  <a:lnTo>
                    <a:pt x="80934" y="550088"/>
                  </a:lnTo>
                  <a:lnTo>
                    <a:pt x="80934" y="363379"/>
                  </a:lnTo>
                  <a:cubicBezTo>
                    <a:pt x="108175" y="400421"/>
                    <a:pt x="151019" y="419424"/>
                    <a:pt x="208912" y="419424"/>
                  </a:cubicBezTo>
                  <a:cubicBezTo>
                    <a:pt x="336404" y="419424"/>
                    <a:pt x="381657" y="302695"/>
                    <a:pt x="381657" y="202749"/>
                  </a:cubicBezTo>
                  <a:cubicBezTo>
                    <a:pt x="381657" y="109214"/>
                    <a:pt x="336194" y="0"/>
                    <a:pt x="208121" y="0"/>
                  </a:cubicBezTo>
                  <a:moveTo>
                    <a:pt x="191986" y="356654"/>
                  </a:moveTo>
                  <a:cubicBezTo>
                    <a:pt x="110461" y="356654"/>
                    <a:pt x="76619" y="275815"/>
                    <a:pt x="76619" y="210426"/>
                  </a:cubicBezTo>
                  <a:cubicBezTo>
                    <a:pt x="76619" y="137360"/>
                    <a:pt x="114300" y="62760"/>
                    <a:pt x="192748" y="62760"/>
                  </a:cubicBezTo>
                  <a:cubicBezTo>
                    <a:pt x="271205" y="62760"/>
                    <a:pt x="301962" y="137360"/>
                    <a:pt x="300437" y="208121"/>
                  </a:cubicBezTo>
                  <a:cubicBezTo>
                    <a:pt x="301962" y="269653"/>
                    <a:pt x="269653" y="356654"/>
                    <a:pt x="191986" y="356654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7" name="Frihandsfigur: Form 16">
              <a:extLst>
                <a:ext uri="{FF2B5EF4-FFF2-40B4-BE49-F238E27FC236}">
                  <a16:creationId xmlns:a16="http://schemas.microsoft.com/office/drawing/2014/main" id="{ED11D425-23C8-49BC-8118-FEF9BE83208E}"/>
                </a:ext>
              </a:extLst>
            </p:cNvPr>
            <p:cNvSpPr/>
            <p:nvPr/>
          </p:nvSpPr>
          <p:spPr>
            <a:xfrm>
              <a:off x="10220852" y="6145822"/>
              <a:ext cx="154838" cy="188890"/>
            </a:xfrm>
            <a:custGeom>
              <a:avLst/>
              <a:gdLst>
                <a:gd name="connsiteX0" fmla="*/ 340100 w 343814"/>
                <a:gd name="connsiteY0" fmla="*/ 166611 h 419423"/>
                <a:gd name="connsiteX1" fmla="*/ 178137 w 343814"/>
                <a:gd name="connsiteY1" fmla="*/ 0 h 419423"/>
                <a:gd name="connsiteX2" fmla="*/ 44453 w 343814"/>
                <a:gd name="connsiteY2" fmla="*/ 38872 h 419423"/>
                <a:gd name="connsiteX3" fmla="*/ 48987 w 343814"/>
                <a:gd name="connsiteY3" fmla="*/ 111585 h 419423"/>
                <a:gd name="connsiteX4" fmla="*/ 166602 w 343814"/>
                <a:gd name="connsiteY4" fmla="*/ 67085 h 419423"/>
                <a:gd name="connsiteX5" fmla="*/ 258947 w 343814"/>
                <a:gd name="connsiteY5" fmla="*/ 160525 h 419423"/>
                <a:gd name="connsiteX6" fmla="*/ 186595 w 343814"/>
                <a:gd name="connsiteY6" fmla="*/ 159210 h 419423"/>
                <a:gd name="connsiteX7" fmla="*/ 0 w 343814"/>
                <a:gd name="connsiteY7" fmla="*/ 292760 h 419423"/>
                <a:gd name="connsiteX8" fmla="*/ 148142 w 343814"/>
                <a:gd name="connsiteY8" fmla="*/ 419424 h 419423"/>
                <a:gd name="connsiteX9" fmla="*/ 266871 w 343814"/>
                <a:gd name="connsiteY9" fmla="*/ 365808 h 419423"/>
                <a:gd name="connsiteX10" fmla="*/ 266871 w 343814"/>
                <a:gd name="connsiteY10" fmla="*/ 410232 h 419423"/>
                <a:gd name="connsiteX11" fmla="*/ 343814 w 343814"/>
                <a:gd name="connsiteY11" fmla="*/ 410232 h 419423"/>
                <a:gd name="connsiteX12" fmla="*/ 340100 w 343814"/>
                <a:gd name="connsiteY12" fmla="*/ 328974 h 419423"/>
                <a:gd name="connsiteX13" fmla="*/ 340100 w 343814"/>
                <a:gd name="connsiteY13" fmla="*/ 166611 h 419423"/>
                <a:gd name="connsiteX14" fmla="*/ 263500 w 343814"/>
                <a:gd name="connsiteY14" fmla="*/ 253498 h 419423"/>
                <a:gd name="connsiteX15" fmla="*/ 154286 w 343814"/>
                <a:gd name="connsiteY15" fmla="*/ 356654 h 419423"/>
                <a:gd name="connsiteX16" fmla="*/ 81229 w 343814"/>
                <a:gd name="connsiteY16" fmla="*/ 292760 h 419423"/>
                <a:gd name="connsiteX17" fmla="*/ 217351 w 343814"/>
                <a:gd name="connsiteY17" fmla="*/ 217341 h 419423"/>
                <a:gd name="connsiteX18" fmla="*/ 263500 w 343814"/>
                <a:gd name="connsiteY18" fmla="*/ 218885 h 419423"/>
                <a:gd name="connsiteX19" fmla="*/ 263500 w 343814"/>
                <a:gd name="connsiteY19" fmla="*/ 253498 h 4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814" h="419423">
                  <a:moveTo>
                    <a:pt x="340100" y="166611"/>
                  </a:moveTo>
                  <a:cubicBezTo>
                    <a:pt x="340100" y="52921"/>
                    <a:pt x="288636" y="0"/>
                    <a:pt x="178137" y="0"/>
                  </a:cubicBezTo>
                  <a:cubicBezTo>
                    <a:pt x="130159" y="0"/>
                    <a:pt x="86239" y="13973"/>
                    <a:pt x="44453" y="38872"/>
                  </a:cubicBezTo>
                  <a:lnTo>
                    <a:pt x="48987" y="111585"/>
                  </a:lnTo>
                  <a:cubicBezTo>
                    <a:pt x="78953" y="84763"/>
                    <a:pt x="121539" y="67085"/>
                    <a:pt x="166602" y="67085"/>
                  </a:cubicBezTo>
                  <a:cubicBezTo>
                    <a:pt x="230819" y="67085"/>
                    <a:pt x="257689" y="94440"/>
                    <a:pt x="258947" y="160525"/>
                  </a:cubicBezTo>
                  <a:cubicBezTo>
                    <a:pt x="232924" y="159268"/>
                    <a:pt x="213112" y="159210"/>
                    <a:pt x="186595" y="159210"/>
                  </a:cubicBezTo>
                  <a:cubicBezTo>
                    <a:pt x="117300" y="159210"/>
                    <a:pt x="0" y="187328"/>
                    <a:pt x="0" y="292760"/>
                  </a:cubicBezTo>
                  <a:cubicBezTo>
                    <a:pt x="0" y="374456"/>
                    <a:pt x="52616" y="419424"/>
                    <a:pt x="148142" y="419424"/>
                  </a:cubicBezTo>
                  <a:cubicBezTo>
                    <a:pt x="212065" y="419424"/>
                    <a:pt x="249584" y="386524"/>
                    <a:pt x="266871" y="365808"/>
                  </a:cubicBezTo>
                  <a:lnTo>
                    <a:pt x="266871" y="410232"/>
                  </a:lnTo>
                  <a:lnTo>
                    <a:pt x="343814" y="410232"/>
                  </a:lnTo>
                  <a:cubicBezTo>
                    <a:pt x="340576" y="386496"/>
                    <a:pt x="340100" y="365989"/>
                    <a:pt x="340100" y="328974"/>
                  </a:cubicBezTo>
                  <a:lnTo>
                    <a:pt x="340100" y="166611"/>
                  </a:lnTo>
                  <a:close/>
                  <a:moveTo>
                    <a:pt x="263500" y="253498"/>
                  </a:moveTo>
                  <a:cubicBezTo>
                    <a:pt x="263500" y="312049"/>
                    <a:pt x="225828" y="356654"/>
                    <a:pt x="154286" y="356654"/>
                  </a:cubicBezTo>
                  <a:cubicBezTo>
                    <a:pt x="121215" y="356654"/>
                    <a:pt x="81229" y="334366"/>
                    <a:pt x="81229" y="292760"/>
                  </a:cubicBezTo>
                  <a:cubicBezTo>
                    <a:pt x="81229" y="223495"/>
                    <a:pt x="178137" y="217341"/>
                    <a:pt x="217351" y="217341"/>
                  </a:cubicBezTo>
                  <a:cubicBezTo>
                    <a:pt x="232743" y="217341"/>
                    <a:pt x="248117" y="218885"/>
                    <a:pt x="263500" y="218885"/>
                  </a:cubicBezTo>
                  <a:lnTo>
                    <a:pt x="263500" y="25349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8" name="Frihandsfigur: Form 17">
              <a:extLst>
                <a:ext uri="{FF2B5EF4-FFF2-40B4-BE49-F238E27FC236}">
                  <a16:creationId xmlns:a16="http://schemas.microsoft.com/office/drawing/2014/main" id="{EA45154D-5A3E-4869-9374-2743F15A76DF}"/>
                </a:ext>
              </a:extLst>
            </p:cNvPr>
            <p:cNvSpPr/>
            <p:nvPr/>
          </p:nvSpPr>
          <p:spPr>
            <a:xfrm>
              <a:off x="11120813" y="6083755"/>
              <a:ext cx="161565" cy="246818"/>
            </a:xfrm>
            <a:custGeom>
              <a:avLst/>
              <a:gdLst>
                <a:gd name="connsiteX0" fmla="*/ 336499 w 358749"/>
                <a:gd name="connsiteY0" fmla="*/ 147037 h 548049"/>
                <a:gd name="connsiteX1" fmla="*/ 232467 w 358749"/>
                <a:gd name="connsiteY1" fmla="*/ 147037 h 548049"/>
                <a:gd name="connsiteX2" fmla="*/ 80934 w 358749"/>
                <a:gd name="connsiteY2" fmla="*/ 300076 h 548049"/>
                <a:gd name="connsiteX3" fmla="*/ 80934 w 358749"/>
                <a:gd name="connsiteY3" fmla="*/ 0 h 548049"/>
                <a:gd name="connsiteX4" fmla="*/ 0 w 358749"/>
                <a:gd name="connsiteY4" fmla="*/ 0 h 548049"/>
                <a:gd name="connsiteX5" fmla="*/ 0 w 358749"/>
                <a:gd name="connsiteY5" fmla="*/ 548049 h 548049"/>
                <a:gd name="connsiteX6" fmla="*/ 80934 w 358749"/>
                <a:gd name="connsiteY6" fmla="*/ 548049 h 548049"/>
                <a:gd name="connsiteX7" fmla="*/ 80934 w 358749"/>
                <a:gd name="connsiteY7" fmla="*/ 353654 h 548049"/>
                <a:gd name="connsiteX8" fmla="*/ 250012 w 358749"/>
                <a:gd name="connsiteY8" fmla="*/ 548049 h 548049"/>
                <a:gd name="connsiteX9" fmla="*/ 358750 w 358749"/>
                <a:gd name="connsiteY9" fmla="*/ 548049 h 548049"/>
                <a:gd name="connsiteX10" fmla="*/ 156515 w 358749"/>
                <a:gd name="connsiteY10" fmla="*/ 325345 h 548049"/>
                <a:gd name="connsiteX11" fmla="*/ 336499 w 358749"/>
                <a:gd name="connsiteY11" fmla="*/ 147037 h 548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8749" h="548049">
                  <a:moveTo>
                    <a:pt x="336499" y="147037"/>
                  </a:moveTo>
                  <a:lnTo>
                    <a:pt x="232467" y="147037"/>
                  </a:lnTo>
                  <a:cubicBezTo>
                    <a:pt x="232467" y="147037"/>
                    <a:pt x="94345" y="286503"/>
                    <a:pt x="80934" y="300076"/>
                  </a:cubicBezTo>
                  <a:lnTo>
                    <a:pt x="80934" y="0"/>
                  </a:lnTo>
                  <a:lnTo>
                    <a:pt x="0" y="0"/>
                  </a:lnTo>
                  <a:lnTo>
                    <a:pt x="0" y="548049"/>
                  </a:lnTo>
                  <a:lnTo>
                    <a:pt x="80934" y="548049"/>
                  </a:lnTo>
                  <a:lnTo>
                    <a:pt x="80934" y="353654"/>
                  </a:lnTo>
                  <a:cubicBezTo>
                    <a:pt x="94802" y="369608"/>
                    <a:pt x="250012" y="548049"/>
                    <a:pt x="250012" y="548049"/>
                  </a:cubicBezTo>
                  <a:lnTo>
                    <a:pt x="358750" y="548049"/>
                  </a:lnTo>
                  <a:cubicBezTo>
                    <a:pt x="358750" y="548049"/>
                    <a:pt x="162240" y="331432"/>
                    <a:pt x="156515" y="325345"/>
                  </a:cubicBezTo>
                  <a:cubicBezTo>
                    <a:pt x="162535" y="319630"/>
                    <a:pt x="336499" y="147037"/>
                    <a:pt x="336499" y="147037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9" name="Frihandsfigur: Form 18">
              <a:extLst>
                <a:ext uri="{FF2B5EF4-FFF2-40B4-BE49-F238E27FC236}">
                  <a16:creationId xmlns:a16="http://schemas.microsoft.com/office/drawing/2014/main" id="{5F7C870F-4899-4432-A716-02BA138A2066}"/>
                </a:ext>
              </a:extLst>
            </p:cNvPr>
            <p:cNvSpPr/>
            <p:nvPr/>
          </p:nvSpPr>
          <p:spPr>
            <a:xfrm>
              <a:off x="9835686" y="6074987"/>
              <a:ext cx="329032" cy="326438"/>
            </a:xfrm>
            <a:custGeom>
              <a:avLst/>
              <a:gdLst>
                <a:gd name="connsiteX0" fmla="*/ 372018 w 730605"/>
                <a:gd name="connsiteY0" fmla="*/ 0 h 724842"/>
                <a:gd name="connsiteX1" fmla="*/ 0 w 730605"/>
                <a:gd name="connsiteY1" fmla="*/ 362426 h 724842"/>
                <a:gd name="connsiteX2" fmla="*/ 372018 w 730605"/>
                <a:gd name="connsiteY2" fmla="*/ 724843 h 724842"/>
                <a:gd name="connsiteX3" fmla="*/ 730606 w 730605"/>
                <a:gd name="connsiteY3" fmla="*/ 724843 h 724842"/>
                <a:gd name="connsiteX4" fmla="*/ 730606 w 730605"/>
                <a:gd name="connsiteY4" fmla="*/ 0 h 724842"/>
                <a:gd name="connsiteX5" fmla="*/ 372018 w 730605"/>
                <a:gd name="connsiteY5" fmla="*/ 0 h 72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0605" h="724842">
                  <a:moveTo>
                    <a:pt x="372018" y="0"/>
                  </a:moveTo>
                  <a:cubicBezTo>
                    <a:pt x="171860" y="0"/>
                    <a:pt x="0" y="162258"/>
                    <a:pt x="0" y="362426"/>
                  </a:cubicBezTo>
                  <a:cubicBezTo>
                    <a:pt x="0" y="562585"/>
                    <a:pt x="171860" y="724843"/>
                    <a:pt x="372018" y="724843"/>
                  </a:cubicBezTo>
                  <a:lnTo>
                    <a:pt x="730606" y="724843"/>
                  </a:lnTo>
                  <a:lnTo>
                    <a:pt x="730606" y="0"/>
                  </a:lnTo>
                  <a:lnTo>
                    <a:pt x="372018" y="0"/>
                  </a:lnTo>
                  <a:close/>
                </a:path>
              </a:pathLst>
            </a:custGeom>
            <a:solidFill>
              <a:srgbClr val="51AF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0" name="Frihandsfigur: Form 19">
              <a:extLst>
                <a:ext uri="{FF2B5EF4-FFF2-40B4-BE49-F238E27FC236}">
                  <a16:creationId xmlns:a16="http://schemas.microsoft.com/office/drawing/2014/main" id="{7722E5D2-BE90-466B-9591-F060DFAC1EA2}"/>
                </a:ext>
              </a:extLst>
            </p:cNvPr>
            <p:cNvSpPr/>
            <p:nvPr/>
          </p:nvSpPr>
          <p:spPr>
            <a:xfrm>
              <a:off x="9908824" y="6113817"/>
              <a:ext cx="222477" cy="241868"/>
            </a:xfrm>
            <a:custGeom>
              <a:avLst/>
              <a:gdLst>
                <a:gd name="connsiteX0" fmla="*/ 494005 w 494004"/>
                <a:gd name="connsiteY0" fmla="*/ 344329 h 537057"/>
                <a:gd name="connsiteX1" fmla="*/ 456114 w 494004"/>
                <a:gd name="connsiteY1" fmla="*/ 268529 h 537057"/>
                <a:gd name="connsiteX2" fmla="*/ 411528 w 494004"/>
                <a:gd name="connsiteY2" fmla="*/ 268529 h 537057"/>
                <a:gd name="connsiteX3" fmla="*/ 411528 w 494004"/>
                <a:gd name="connsiteY3" fmla="*/ 122063 h 537057"/>
                <a:gd name="connsiteX4" fmla="*/ 289455 w 494004"/>
                <a:gd name="connsiteY4" fmla="*/ 0 h 537057"/>
                <a:gd name="connsiteX5" fmla="*/ 167383 w 494004"/>
                <a:gd name="connsiteY5" fmla="*/ 122063 h 537057"/>
                <a:gd name="connsiteX6" fmla="*/ 167383 w 494004"/>
                <a:gd name="connsiteY6" fmla="*/ 215589 h 537057"/>
                <a:gd name="connsiteX7" fmla="*/ 244135 w 494004"/>
                <a:gd name="connsiteY7" fmla="*/ 177213 h 537057"/>
                <a:gd name="connsiteX8" fmla="*/ 244135 w 494004"/>
                <a:gd name="connsiteY8" fmla="*/ 121120 h 537057"/>
                <a:gd name="connsiteX9" fmla="*/ 289455 w 494004"/>
                <a:gd name="connsiteY9" fmla="*/ 75800 h 537057"/>
                <a:gd name="connsiteX10" fmla="*/ 334775 w 494004"/>
                <a:gd name="connsiteY10" fmla="*/ 121120 h 537057"/>
                <a:gd name="connsiteX11" fmla="*/ 334775 w 494004"/>
                <a:gd name="connsiteY11" fmla="*/ 268529 h 537057"/>
                <a:gd name="connsiteX12" fmla="*/ 9754 w 494004"/>
                <a:gd name="connsiteY12" fmla="*/ 268529 h 537057"/>
                <a:gd name="connsiteX13" fmla="*/ 0 w 494004"/>
                <a:gd name="connsiteY13" fmla="*/ 331299 h 537057"/>
                <a:gd name="connsiteX14" fmla="*/ 205759 w 494004"/>
                <a:gd name="connsiteY14" fmla="*/ 537058 h 537057"/>
                <a:gd name="connsiteX15" fmla="*/ 411118 w 494004"/>
                <a:gd name="connsiteY15" fmla="*/ 344329 h 537057"/>
                <a:gd name="connsiteX16" fmla="*/ 494005 w 494004"/>
                <a:gd name="connsiteY16" fmla="*/ 344329 h 537057"/>
                <a:gd name="connsiteX17" fmla="*/ 205759 w 494004"/>
                <a:gd name="connsiteY17" fmla="*/ 461258 h 537057"/>
                <a:gd name="connsiteX18" fmla="*/ 77400 w 494004"/>
                <a:gd name="connsiteY18" fmla="*/ 344329 h 537057"/>
                <a:gd name="connsiteX19" fmla="*/ 334118 w 494004"/>
                <a:gd name="connsiteY19" fmla="*/ 344329 h 537057"/>
                <a:gd name="connsiteX20" fmla="*/ 205759 w 494004"/>
                <a:gd name="connsiteY20" fmla="*/ 461258 h 53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4004" h="537057">
                  <a:moveTo>
                    <a:pt x="494005" y="344329"/>
                  </a:moveTo>
                  <a:lnTo>
                    <a:pt x="456114" y="268529"/>
                  </a:lnTo>
                  <a:lnTo>
                    <a:pt x="411528" y="268529"/>
                  </a:lnTo>
                  <a:lnTo>
                    <a:pt x="411528" y="122063"/>
                  </a:lnTo>
                  <a:cubicBezTo>
                    <a:pt x="411528" y="54645"/>
                    <a:pt x="356873" y="0"/>
                    <a:pt x="289455" y="0"/>
                  </a:cubicBezTo>
                  <a:cubicBezTo>
                    <a:pt x="222037" y="0"/>
                    <a:pt x="167383" y="54645"/>
                    <a:pt x="167383" y="122063"/>
                  </a:cubicBezTo>
                  <a:lnTo>
                    <a:pt x="167383" y="215589"/>
                  </a:lnTo>
                  <a:lnTo>
                    <a:pt x="244135" y="177213"/>
                  </a:lnTo>
                  <a:lnTo>
                    <a:pt x="244135" y="121120"/>
                  </a:lnTo>
                  <a:cubicBezTo>
                    <a:pt x="244135" y="96088"/>
                    <a:pt x="264424" y="75800"/>
                    <a:pt x="289455" y="75800"/>
                  </a:cubicBezTo>
                  <a:cubicBezTo>
                    <a:pt x="314487" y="75800"/>
                    <a:pt x="334775" y="96088"/>
                    <a:pt x="334775" y="121120"/>
                  </a:cubicBezTo>
                  <a:lnTo>
                    <a:pt x="334775" y="268529"/>
                  </a:lnTo>
                  <a:lnTo>
                    <a:pt x="9754" y="268529"/>
                  </a:lnTo>
                  <a:cubicBezTo>
                    <a:pt x="3419" y="288312"/>
                    <a:pt x="0" y="309410"/>
                    <a:pt x="0" y="331299"/>
                  </a:cubicBezTo>
                  <a:cubicBezTo>
                    <a:pt x="0" y="444932"/>
                    <a:pt x="92126" y="537058"/>
                    <a:pt x="205759" y="537058"/>
                  </a:cubicBezTo>
                  <a:cubicBezTo>
                    <a:pt x="315020" y="537058"/>
                    <a:pt x="404393" y="451904"/>
                    <a:pt x="411118" y="344329"/>
                  </a:cubicBezTo>
                  <a:lnTo>
                    <a:pt x="494005" y="344329"/>
                  </a:lnTo>
                  <a:close/>
                  <a:moveTo>
                    <a:pt x="205759" y="461258"/>
                  </a:moveTo>
                  <a:cubicBezTo>
                    <a:pt x="138884" y="461258"/>
                    <a:pt x="83896" y="409985"/>
                    <a:pt x="77400" y="344329"/>
                  </a:cubicBezTo>
                  <a:lnTo>
                    <a:pt x="334118" y="344329"/>
                  </a:lnTo>
                  <a:cubicBezTo>
                    <a:pt x="327631" y="409985"/>
                    <a:pt x="272644" y="461258"/>
                    <a:pt x="205759" y="46125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55722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lang="sv-SE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2427" indent="-182558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-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25459" indent="-17303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890">
          <p15:clr>
            <a:srgbClr val="A4A3A4"/>
          </p15:clr>
        </p15:guide>
        <p15:guide id="4" orient="horz" pos="837">
          <p15:clr>
            <a:srgbClr val="A4A3A4"/>
          </p15:clr>
        </p15:guide>
        <p15:guide id="5" orient="horz" pos="255">
          <p15:clr>
            <a:srgbClr val="A4A3A4"/>
          </p15:clr>
        </p15:guide>
        <p15:guide id="6" pos="395">
          <p15:clr>
            <a:srgbClr val="A4A3A4"/>
          </p15:clr>
        </p15:guide>
        <p15:guide id="7" pos="7287">
          <p15:clr>
            <a:srgbClr val="A4A3A4"/>
          </p15:clr>
        </p15:guide>
        <p15:guide id="8" orient="horz" pos="363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54BF305-96C6-1300-DF2F-2AD09E611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BF305-96C6-1300-DF2F-2AD09E611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A865BEC-ADDF-4448-6C85-51813C7C7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Styrelsen föreslår att höja avgiften från 20 till 25 kr per andel från 1:a januar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40967D-C19D-92D3-F89E-D50EB5095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/>
              <a:t>Årsmöte Apotekets konstförening 202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368B27-BBBB-EFB5-C4ED-CE861B427E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D21B8F-009A-F267-5264-AAD914FD421B}"/>
              </a:ext>
            </a:extLst>
          </p:cNvPr>
          <p:cNvSpPr/>
          <p:nvPr/>
        </p:nvSpPr>
        <p:spPr>
          <a:xfrm>
            <a:off x="600832" y="1798629"/>
            <a:ext cx="10270368" cy="289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300"/>
              </a:spcBef>
            </a:pPr>
            <a:r>
              <a:rPr lang="sv-SE" sz="1200" b="1" dirty="0">
                <a:solidFill>
                  <a:sysClr val="windowText" lastClr="000000"/>
                </a:solidFill>
              </a:rPr>
              <a:t>Bakgrund</a:t>
            </a:r>
            <a:r>
              <a:rPr lang="sv-SE" sz="1200" dirty="0">
                <a:solidFill>
                  <a:sysClr val="windowText" lastClr="000000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Konstföreningen har haft samma avgift sedan 20 år tillbaka 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En stegrande inflation de senaste åren utmanar konstföreningens möjlighet att hålla kvalitén på inköpt konst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Vi föreslår en höjning på 25% för att behålla kvalitén på utlottade verk</a:t>
            </a:r>
          </a:p>
          <a:p>
            <a:pPr>
              <a:spcBef>
                <a:spcPts val="300"/>
              </a:spcBef>
            </a:pPr>
            <a:endParaRPr lang="sv-SE" sz="1200" dirty="0">
              <a:solidFill>
                <a:sysClr val="windowText" lastClr="000000"/>
              </a:solidFill>
            </a:endParaRPr>
          </a:p>
          <a:p>
            <a:pPr>
              <a:spcBef>
                <a:spcPts val="300"/>
              </a:spcBef>
            </a:pPr>
            <a:r>
              <a:rPr lang="sv-SE" sz="1200" b="1" dirty="0">
                <a:solidFill>
                  <a:sysClr val="windowText" lastClr="000000"/>
                </a:solidFill>
              </a:rPr>
              <a:t>Antaganden 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Andelspriset går från 20 till 25 kr (medlemmen kan ha 1 till 5 andelar) 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Om man </a:t>
            </a:r>
            <a:r>
              <a:rPr lang="sv-SE" sz="1200" dirty="0" err="1">
                <a:solidFill>
                  <a:sysClr val="windowText" lastClr="000000"/>
                </a:solidFill>
              </a:rPr>
              <a:t>t.ex</a:t>
            </a:r>
            <a:r>
              <a:rPr lang="sv-SE" sz="1200" dirty="0">
                <a:solidFill>
                  <a:sysClr val="windowText" lastClr="000000"/>
                </a:solidFill>
              </a:rPr>
              <a:t> har 3 andelar ökar månadsavgiften från 60 kr till 75kr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Vi räknar med ett visst bortfall, men en ökad intäkt på ca 90 000 kr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r>
              <a:rPr lang="sv-SE" sz="1200" dirty="0">
                <a:solidFill>
                  <a:sysClr val="windowText" lastClr="000000"/>
                </a:solidFill>
              </a:rPr>
              <a:t>Ökningen sker 1 januari 2026</a:t>
            </a:r>
          </a:p>
          <a:p>
            <a:pPr marL="171450" indent="-171450">
              <a:spcBef>
                <a:spcPts val="300"/>
              </a:spcBef>
              <a:buFontTx/>
              <a:buChar char="-"/>
            </a:pPr>
            <a:endParaRPr lang="sv-SE" sz="12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165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MENUOPE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rtsidor, kapitelsidor, agenda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poteket">
      <a:majorFont>
        <a:latin typeface="Arial 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a:style>
    </a:spDef>
    <a:txDef>
      <a:spPr>
        <a:noFill/>
      </a:spPr>
      <a:bodyPr wrap="square" lIns="0" rIns="0" rtlCol="0" anchor="ctr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FB0A284F-A798-4601-BC7F-AC41DFE4896F}" vid="{67F724C8-D942-4B8C-AE4F-EEF0A5D84CEB}"/>
    </a:ext>
  </a:extLst>
</a:theme>
</file>

<file path=ppt/theme/theme2.xml><?xml version="1.0" encoding="utf-8"?>
<a:theme xmlns:a="http://schemas.openxmlformats.org/drawingml/2006/main" name="Orginalmall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potek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FB0A284F-A798-4601-BC7F-AC41DFE4896F}" vid="{1F44C45A-828F-46C4-BF1E-231709CC479A}"/>
    </a:ext>
  </a:extLst>
</a:theme>
</file>

<file path=ppt/theme/theme3.xml><?xml version="1.0" encoding="utf-8"?>
<a:theme xmlns:a="http://schemas.openxmlformats.org/drawingml/2006/main" name="med underrubrik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FB0A284F-A798-4601-BC7F-AC41DFE4896F}" vid="{265179AC-DCAF-452D-B7C4-3BC9F42715F5}"/>
    </a:ext>
  </a:extLst>
</a:theme>
</file>

<file path=ppt/theme/theme4.xml><?xml version="1.0" encoding="utf-8"?>
<a:theme xmlns:a="http://schemas.openxmlformats.org/drawingml/2006/main" name="med understruken underrubrik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FB0A284F-A798-4601-BC7F-AC41DFE4896F}" vid="{80936F38-0A54-43C5-8033-EA539973F21F}"/>
    </a:ext>
  </a:extLst>
</a:theme>
</file>

<file path=ppt/theme/theme5.xml><?xml version="1.0" encoding="utf-8"?>
<a:theme xmlns:a="http://schemas.openxmlformats.org/drawingml/2006/main" name="Bildsidor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FB0A284F-A798-4601-BC7F-AC41DFE4896F}" vid="{1FF02557-492B-4654-AFFF-1F7DF0B58C4F}"/>
    </a:ext>
  </a:extLst>
</a:theme>
</file>

<file path=ppt/theme/theme6.xml><?xml version="1.0" encoding="utf-8"?>
<a:theme xmlns:a="http://schemas.openxmlformats.org/drawingml/2006/main" name="Office-tema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potek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ema">
  <a:themeElements>
    <a:clrScheme name="Apoteket">
      <a:dk1>
        <a:sysClr val="windowText" lastClr="000000"/>
      </a:dk1>
      <a:lt1>
        <a:srgbClr val="FFFFFF"/>
      </a:lt1>
      <a:dk2>
        <a:srgbClr val="1D6453"/>
      </a:dk2>
      <a:lt2>
        <a:srgbClr val="D3E0D1"/>
      </a:lt2>
      <a:accent1>
        <a:srgbClr val="249555"/>
      </a:accent1>
      <a:accent2>
        <a:srgbClr val="028E97"/>
      </a:accent2>
      <a:accent3>
        <a:srgbClr val="8A2E2C"/>
      </a:accent3>
      <a:accent4>
        <a:srgbClr val="F1C145"/>
      </a:accent4>
      <a:accent5>
        <a:srgbClr val="EB756D"/>
      </a:accent5>
      <a:accent6>
        <a:srgbClr val="1D6453"/>
      </a:accent6>
      <a:hlink>
        <a:srgbClr val="7F7F7F"/>
      </a:hlink>
      <a:folHlink>
        <a:srgbClr val="D0CECE"/>
      </a:folHlink>
    </a:clrScheme>
    <a:fontScheme name="Apotek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poteket Mallar 2022</Template>
  <TotalTime>0</TotalTime>
  <Words>11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</vt:lpstr>
      <vt:lpstr>Startsidor, kapitelsidor, agenda</vt:lpstr>
      <vt:lpstr>Orginalmall</vt:lpstr>
      <vt:lpstr>med underrubrik</vt:lpstr>
      <vt:lpstr>med understruken underrubrik</vt:lpstr>
      <vt:lpstr>Bildsidor</vt:lpstr>
      <vt:lpstr>think-cell Slide</vt:lpstr>
      <vt:lpstr>Styrelsen föreslår att höja avgiften från 20 till 25 kr per andel från 1:a januari</vt:lpstr>
    </vt:vector>
  </TitlesOfParts>
  <Company>Apoteket 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efin Jacobsson</dc:creator>
  <cp:keywords>Mall;2021;MoncFrank</cp:keywords>
  <cp:lastModifiedBy>Josefin Jacobsson</cp:lastModifiedBy>
  <cp:revision>1</cp:revision>
  <dcterms:created xsi:type="dcterms:W3CDTF">2025-10-23T15:43:36Z</dcterms:created>
  <dcterms:modified xsi:type="dcterms:W3CDTF">2025-10-23T15:4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b41c188-b42e-48c0-970d-e7e4b0d7dadb_Enabled">
    <vt:lpwstr>true</vt:lpwstr>
  </property>
  <property fmtid="{D5CDD505-2E9C-101B-9397-08002B2CF9AE}" pid="3" name="MSIP_Label_bb41c188-b42e-48c0-970d-e7e4b0d7dadb_SetDate">
    <vt:lpwstr>2025-10-23T15:43:42Z</vt:lpwstr>
  </property>
  <property fmtid="{D5CDD505-2E9C-101B-9397-08002B2CF9AE}" pid="4" name="MSIP_Label_bb41c188-b42e-48c0-970d-e7e4b0d7dadb_Method">
    <vt:lpwstr>Standard</vt:lpwstr>
  </property>
  <property fmtid="{D5CDD505-2E9C-101B-9397-08002B2CF9AE}" pid="5" name="MSIP_Label_bb41c188-b42e-48c0-970d-e7e4b0d7dadb_Name">
    <vt:lpwstr>Öppen</vt:lpwstr>
  </property>
  <property fmtid="{D5CDD505-2E9C-101B-9397-08002B2CF9AE}" pid="6" name="MSIP_Label_bb41c188-b42e-48c0-970d-e7e4b0d7dadb_SiteId">
    <vt:lpwstr>161c6878-ed19-497c-bc25-787872461eb3</vt:lpwstr>
  </property>
  <property fmtid="{D5CDD505-2E9C-101B-9397-08002B2CF9AE}" pid="7" name="MSIP_Label_bb41c188-b42e-48c0-970d-e7e4b0d7dadb_ActionId">
    <vt:lpwstr>32ee7f77-9bcd-442c-9e9c-aae253b10e85</vt:lpwstr>
  </property>
  <property fmtid="{D5CDD505-2E9C-101B-9397-08002B2CF9AE}" pid="8" name="MSIP_Label_bb41c188-b42e-48c0-970d-e7e4b0d7dadb_ContentBits">
    <vt:lpwstr>0</vt:lpwstr>
  </property>
</Properties>
</file>